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56" r:id="rId2"/>
    <p:sldId id="358" r:id="rId3"/>
    <p:sldId id="359" r:id="rId4"/>
    <p:sldId id="360" r:id="rId5"/>
    <p:sldId id="361" r:id="rId6"/>
    <p:sldId id="362" r:id="rId7"/>
    <p:sldId id="363" r:id="rId8"/>
    <p:sldId id="394" r:id="rId9"/>
    <p:sldId id="395" r:id="rId10"/>
    <p:sldId id="396" r:id="rId11"/>
    <p:sldId id="4481" r:id="rId12"/>
    <p:sldId id="4483" r:id="rId13"/>
    <p:sldId id="4484" r:id="rId14"/>
    <p:sldId id="4485" r:id="rId15"/>
    <p:sldId id="4692" r:id="rId16"/>
    <p:sldId id="448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varScale="1">
        <p:scale>
          <a:sx n="68" d="100"/>
          <a:sy n="68" d="100"/>
        </p:scale>
        <p:origin x="608" y="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C207F5-706E-4AD3-B85D-47400AD952C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2996509D-37D6-46B9-89B4-7A7AC0E53DFD}">
      <dgm:prSet phldrT="[Text]" custT="1"/>
      <dgm:spPr/>
      <dgm:t>
        <a:bodyPr/>
        <a:lstStyle/>
        <a:p>
          <a:r>
            <a:rPr lang="en-GB" sz="1800" dirty="0"/>
            <a:t>Operational Measures</a:t>
          </a:r>
        </a:p>
      </dgm:t>
    </dgm:pt>
    <dgm:pt modelId="{B723190F-CE90-4B58-B72A-E0C326A71C7B}" type="parTrans" cxnId="{5AC62D44-0D9B-413B-98AD-949D29B44612}">
      <dgm:prSet/>
      <dgm:spPr/>
      <dgm:t>
        <a:bodyPr/>
        <a:lstStyle/>
        <a:p>
          <a:endParaRPr lang="en-GB" sz="1400"/>
        </a:p>
      </dgm:t>
    </dgm:pt>
    <dgm:pt modelId="{51078989-83B2-47C1-B433-EB4C0F03F9DA}" type="sibTrans" cxnId="{5AC62D44-0D9B-413B-98AD-949D29B44612}">
      <dgm:prSet/>
      <dgm:spPr/>
      <dgm:t>
        <a:bodyPr/>
        <a:lstStyle/>
        <a:p>
          <a:endParaRPr lang="en-GB" sz="1400"/>
        </a:p>
      </dgm:t>
    </dgm:pt>
    <dgm:pt modelId="{C10A867B-9C7E-4A8D-9C5C-EB648967E2A7}">
      <dgm:prSet phldrT="[Text]" custT="1"/>
      <dgm:spPr>
        <a:solidFill>
          <a:schemeClr val="accent4"/>
        </a:solidFill>
      </dgm:spPr>
      <dgm:t>
        <a:bodyPr/>
        <a:lstStyle/>
        <a:p>
          <a:r>
            <a:rPr lang="en-GB" sz="1800" dirty="0"/>
            <a:t>Result effective</a:t>
          </a:r>
        </a:p>
      </dgm:t>
    </dgm:pt>
    <dgm:pt modelId="{9421269D-A21A-4407-8604-39BCD821812F}" type="parTrans" cxnId="{BE44AC75-E403-425E-B29A-A97ABEC95B07}">
      <dgm:prSet/>
      <dgm:spPr/>
      <dgm:t>
        <a:bodyPr/>
        <a:lstStyle/>
        <a:p>
          <a:endParaRPr lang="en-GB" sz="1400"/>
        </a:p>
      </dgm:t>
    </dgm:pt>
    <dgm:pt modelId="{62B9F2E8-1D1C-43BD-8F29-4AEC2AB62A33}" type="sibTrans" cxnId="{BE44AC75-E403-425E-B29A-A97ABEC95B07}">
      <dgm:prSet/>
      <dgm:spPr/>
      <dgm:t>
        <a:bodyPr/>
        <a:lstStyle/>
        <a:p>
          <a:endParaRPr lang="en-GB" sz="1400"/>
        </a:p>
      </dgm:t>
    </dgm:pt>
    <dgm:pt modelId="{DD734669-EFA4-4C99-A16B-C47DC11AC257}">
      <dgm:prSet phldrT="[Text]" custT="1"/>
      <dgm:spPr>
        <a:solidFill>
          <a:schemeClr val="accent2"/>
        </a:solidFill>
      </dgm:spPr>
      <dgm:t>
        <a:bodyPr/>
        <a:lstStyle/>
        <a:p>
          <a:r>
            <a:rPr lang="en-GB" sz="1800" dirty="0"/>
            <a:t>Liquidity Effective</a:t>
          </a:r>
        </a:p>
      </dgm:t>
    </dgm:pt>
    <dgm:pt modelId="{CC50273E-A4B5-4F41-9F8A-B280064E63F8}" type="parTrans" cxnId="{0D8DCB8E-220E-4E4F-9071-DF27D84DBEDE}">
      <dgm:prSet/>
      <dgm:spPr/>
      <dgm:t>
        <a:bodyPr/>
        <a:lstStyle/>
        <a:p>
          <a:endParaRPr lang="en-GB" sz="1400"/>
        </a:p>
      </dgm:t>
    </dgm:pt>
    <dgm:pt modelId="{FC40561F-4946-4575-A78B-877A85762064}" type="sibTrans" cxnId="{0D8DCB8E-220E-4E4F-9071-DF27D84DBEDE}">
      <dgm:prSet/>
      <dgm:spPr/>
      <dgm:t>
        <a:bodyPr/>
        <a:lstStyle/>
        <a:p>
          <a:endParaRPr lang="en-GB" sz="1400"/>
        </a:p>
      </dgm:t>
    </dgm:pt>
    <dgm:pt modelId="{DAC9CFA4-F23B-47BF-85D1-42B4794B0F68}">
      <dgm:prSet phldrT="[Text]" custT="1"/>
      <dgm:spPr>
        <a:solidFill>
          <a:schemeClr val="accent4"/>
        </a:solidFill>
      </dgm:spPr>
      <dgm:t>
        <a:bodyPr/>
        <a:lstStyle/>
        <a:p>
          <a:r>
            <a:rPr lang="en-GB" sz="1400" dirty="0"/>
            <a:t>Reduction of material costs</a:t>
          </a:r>
        </a:p>
      </dgm:t>
    </dgm:pt>
    <dgm:pt modelId="{00F3FCD8-6BD4-4A33-8A67-FBBE2BA9A721}" type="parTrans" cxnId="{4DAAA103-A0D8-4DD5-A723-6EA1D2954D51}">
      <dgm:prSet/>
      <dgm:spPr/>
      <dgm:t>
        <a:bodyPr/>
        <a:lstStyle/>
        <a:p>
          <a:endParaRPr lang="en-GB" sz="1400"/>
        </a:p>
      </dgm:t>
    </dgm:pt>
    <dgm:pt modelId="{58949B04-6263-46EB-B606-579728F35DC6}" type="sibTrans" cxnId="{4DAAA103-A0D8-4DD5-A723-6EA1D2954D51}">
      <dgm:prSet/>
      <dgm:spPr/>
      <dgm:t>
        <a:bodyPr/>
        <a:lstStyle/>
        <a:p>
          <a:endParaRPr lang="en-GB" sz="1400"/>
        </a:p>
      </dgm:t>
    </dgm:pt>
    <dgm:pt modelId="{A1759FDE-00FC-437F-88D9-D98421C11A47}">
      <dgm:prSet custT="1"/>
      <dgm:spPr>
        <a:solidFill>
          <a:schemeClr val="accent4"/>
        </a:solidFill>
      </dgm:spPr>
      <dgm:t>
        <a:bodyPr/>
        <a:lstStyle/>
        <a:p>
          <a:r>
            <a:rPr lang="en-GB" sz="1400" dirty="0"/>
            <a:t>Reduction of personnel expenses</a:t>
          </a:r>
        </a:p>
      </dgm:t>
    </dgm:pt>
    <dgm:pt modelId="{16BEAB49-731F-4859-B863-61909CFF6A31}" type="parTrans" cxnId="{38DCAEBB-1F72-49A2-ABA3-A6F764AFC742}">
      <dgm:prSet/>
      <dgm:spPr/>
      <dgm:t>
        <a:bodyPr/>
        <a:lstStyle/>
        <a:p>
          <a:endParaRPr lang="en-GB" sz="1400"/>
        </a:p>
      </dgm:t>
    </dgm:pt>
    <dgm:pt modelId="{4EB3AAC2-30BA-4418-A49D-CB16CD27F58D}" type="sibTrans" cxnId="{38DCAEBB-1F72-49A2-ABA3-A6F764AFC742}">
      <dgm:prSet/>
      <dgm:spPr/>
      <dgm:t>
        <a:bodyPr/>
        <a:lstStyle/>
        <a:p>
          <a:endParaRPr lang="en-GB" sz="1400"/>
        </a:p>
      </dgm:t>
    </dgm:pt>
    <dgm:pt modelId="{0370EF63-5F29-499D-A32F-D1F08C981975}">
      <dgm:prSet custT="1"/>
      <dgm:spPr>
        <a:solidFill>
          <a:schemeClr val="accent4"/>
        </a:solidFill>
      </dgm:spPr>
      <dgm:t>
        <a:bodyPr/>
        <a:lstStyle/>
        <a:p>
          <a:r>
            <a:rPr lang="en-US" sz="1400" dirty="0"/>
            <a:t>Reduction of other operating expenses</a:t>
          </a:r>
          <a:endParaRPr lang="en-GB" sz="1400" dirty="0"/>
        </a:p>
      </dgm:t>
    </dgm:pt>
    <dgm:pt modelId="{133D57E3-4D91-446E-A271-BB6B24AB8897}" type="parTrans" cxnId="{E74C4337-F905-4ABE-A63D-7236C9B2381F}">
      <dgm:prSet/>
      <dgm:spPr/>
      <dgm:t>
        <a:bodyPr/>
        <a:lstStyle/>
        <a:p>
          <a:endParaRPr lang="en-GB" sz="1400"/>
        </a:p>
      </dgm:t>
    </dgm:pt>
    <dgm:pt modelId="{C2A3CB82-1295-4E53-91C9-89F75FDC9FA7}" type="sibTrans" cxnId="{E74C4337-F905-4ABE-A63D-7236C9B2381F}">
      <dgm:prSet/>
      <dgm:spPr/>
      <dgm:t>
        <a:bodyPr/>
        <a:lstStyle/>
        <a:p>
          <a:endParaRPr lang="en-GB" sz="1400"/>
        </a:p>
      </dgm:t>
    </dgm:pt>
    <dgm:pt modelId="{A48C7772-3C3F-4777-A237-8EAC0050684F}">
      <dgm:prSet custT="1"/>
      <dgm:spPr>
        <a:solidFill>
          <a:schemeClr val="accent4"/>
        </a:solidFill>
      </dgm:spPr>
      <dgm:t>
        <a:bodyPr/>
        <a:lstStyle/>
        <a:p>
          <a:r>
            <a:rPr lang="en-GB" sz="1400" dirty="0"/>
            <a:t>Short-term sales increase/stabilization</a:t>
          </a:r>
        </a:p>
      </dgm:t>
    </dgm:pt>
    <dgm:pt modelId="{90A789CE-D629-4662-A76F-6128D00A2A7A}" type="parTrans" cxnId="{064B7A5A-72D8-4455-AB84-EE64C82E9EF7}">
      <dgm:prSet/>
      <dgm:spPr/>
      <dgm:t>
        <a:bodyPr/>
        <a:lstStyle/>
        <a:p>
          <a:endParaRPr lang="en-GB" sz="1400"/>
        </a:p>
      </dgm:t>
    </dgm:pt>
    <dgm:pt modelId="{EFB88896-D9AC-4659-B422-95A155C64A1D}" type="sibTrans" cxnId="{064B7A5A-72D8-4455-AB84-EE64C82E9EF7}">
      <dgm:prSet/>
      <dgm:spPr/>
      <dgm:t>
        <a:bodyPr/>
        <a:lstStyle/>
        <a:p>
          <a:endParaRPr lang="en-GB" sz="1400"/>
        </a:p>
      </dgm:t>
    </dgm:pt>
    <dgm:pt modelId="{C1B81B48-3B63-4C62-AA20-66CD2B9C91A6}">
      <dgm:prSet phldrT="[Text]" custT="1"/>
      <dgm:spPr>
        <a:solidFill>
          <a:schemeClr val="accent2"/>
        </a:solidFill>
      </dgm:spPr>
      <dgm:t>
        <a:bodyPr/>
        <a:lstStyle/>
        <a:p>
          <a:r>
            <a:rPr lang="en-GB" sz="1400" dirty="0"/>
            <a:t>Optimization of stocks</a:t>
          </a:r>
        </a:p>
      </dgm:t>
    </dgm:pt>
    <dgm:pt modelId="{0C867DF7-0152-4678-9386-4601E8B8883C}" type="parTrans" cxnId="{47D6C77E-6A8B-4893-83F6-5270C37DBC2D}">
      <dgm:prSet/>
      <dgm:spPr/>
      <dgm:t>
        <a:bodyPr/>
        <a:lstStyle/>
        <a:p>
          <a:endParaRPr lang="en-GB" sz="1400"/>
        </a:p>
      </dgm:t>
    </dgm:pt>
    <dgm:pt modelId="{F7187639-905E-48DB-A754-52BF4FA8126B}" type="sibTrans" cxnId="{47D6C77E-6A8B-4893-83F6-5270C37DBC2D}">
      <dgm:prSet/>
      <dgm:spPr/>
      <dgm:t>
        <a:bodyPr/>
        <a:lstStyle/>
        <a:p>
          <a:endParaRPr lang="en-GB" sz="1400"/>
        </a:p>
      </dgm:t>
    </dgm:pt>
    <dgm:pt modelId="{5C24817C-1295-482F-93E5-CAA043BE8AC0}">
      <dgm:prSet custT="1"/>
      <dgm:spPr>
        <a:solidFill>
          <a:schemeClr val="accent2"/>
        </a:solidFill>
      </dgm:spPr>
      <dgm:t>
        <a:bodyPr/>
        <a:lstStyle/>
        <a:p>
          <a:r>
            <a:rPr lang="en-GB" sz="1400" dirty="0"/>
            <a:t>Accounts Receivable Management</a:t>
          </a:r>
        </a:p>
      </dgm:t>
    </dgm:pt>
    <dgm:pt modelId="{FAE56224-42BE-4F81-B414-22BDF2167AA1}" type="parTrans" cxnId="{5A823273-5093-42CA-85A1-17BC581E5A06}">
      <dgm:prSet/>
      <dgm:spPr/>
      <dgm:t>
        <a:bodyPr/>
        <a:lstStyle/>
        <a:p>
          <a:endParaRPr lang="en-GB" sz="1400"/>
        </a:p>
      </dgm:t>
    </dgm:pt>
    <dgm:pt modelId="{4BB88FEB-6BCF-44E3-9A64-C80CFC6AF244}" type="sibTrans" cxnId="{5A823273-5093-42CA-85A1-17BC581E5A06}">
      <dgm:prSet/>
      <dgm:spPr/>
      <dgm:t>
        <a:bodyPr/>
        <a:lstStyle/>
        <a:p>
          <a:endParaRPr lang="en-GB" sz="1400"/>
        </a:p>
      </dgm:t>
    </dgm:pt>
    <dgm:pt modelId="{BE5CD816-C488-41AE-9496-C3B88308D23C}">
      <dgm:prSet custT="1"/>
      <dgm:spPr>
        <a:solidFill>
          <a:schemeClr val="accent2"/>
        </a:solidFill>
      </dgm:spPr>
      <dgm:t>
        <a:bodyPr/>
        <a:lstStyle/>
        <a:p>
          <a:r>
            <a:rPr lang="en-GB" sz="1400" dirty="0"/>
            <a:t>Accounts Payable Management</a:t>
          </a:r>
        </a:p>
      </dgm:t>
    </dgm:pt>
    <dgm:pt modelId="{2DA896E8-403A-4261-989A-A4D5B82972D8}" type="parTrans" cxnId="{FDAF50DE-BE80-4D13-82AF-3FDB1EF51B4E}">
      <dgm:prSet/>
      <dgm:spPr/>
      <dgm:t>
        <a:bodyPr/>
        <a:lstStyle/>
        <a:p>
          <a:endParaRPr lang="en-GB" sz="1400"/>
        </a:p>
      </dgm:t>
    </dgm:pt>
    <dgm:pt modelId="{411AD981-F16A-4016-ADA6-F0E1AA7D20A7}" type="sibTrans" cxnId="{FDAF50DE-BE80-4D13-82AF-3FDB1EF51B4E}">
      <dgm:prSet/>
      <dgm:spPr/>
      <dgm:t>
        <a:bodyPr/>
        <a:lstStyle/>
        <a:p>
          <a:endParaRPr lang="en-GB" sz="1400"/>
        </a:p>
      </dgm:t>
    </dgm:pt>
    <dgm:pt modelId="{C163E80F-CDE6-4A62-803B-525928121534}">
      <dgm:prSet custT="1"/>
      <dgm:spPr>
        <a:solidFill>
          <a:schemeClr val="accent2"/>
        </a:solidFill>
      </dgm:spPr>
      <dgm:t>
        <a:bodyPr/>
        <a:lstStyle/>
        <a:p>
          <a:r>
            <a:rPr lang="en-GB" sz="1400" dirty="0"/>
            <a:t>Disinvestments</a:t>
          </a:r>
        </a:p>
      </dgm:t>
    </dgm:pt>
    <dgm:pt modelId="{C99C9DCE-D46D-4176-AC03-E1F27464E8F1}" type="parTrans" cxnId="{85E44020-38E0-4A8B-A4AB-89B18FAA9CB8}">
      <dgm:prSet/>
      <dgm:spPr/>
      <dgm:t>
        <a:bodyPr/>
        <a:lstStyle/>
        <a:p>
          <a:endParaRPr lang="en-GB" sz="1400"/>
        </a:p>
      </dgm:t>
    </dgm:pt>
    <dgm:pt modelId="{94B46C1B-0055-48D4-AECD-C20B89E096F0}" type="sibTrans" cxnId="{85E44020-38E0-4A8B-A4AB-89B18FAA9CB8}">
      <dgm:prSet/>
      <dgm:spPr/>
      <dgm:t>
        <a:bodyPr/>
        <a:lstStyle/>
        <a:p>
          <a:endParaRPr lang="en-GB" sz="1400"/>
        </a:p>
      </dgm:t>
    </dgm:pt>
    <dgm:pt modelId="{E24CD9E3-A06B-42D8-8D35-F58A71C6F137}">
      <dgm:prSet custT="1"/>
      <dgm:spPr>
        <a:solidFill>
          <a:schemeClr val="accent2"/>
        </a:solidFill>
      </dgm:spPr>
      <dgm:t>
        <a:bodyPr/>
        <a:lstStyle/>
        <a:p>
          <a:r>
            <a:rPr lang="en-GB" sz="1400" dirty="0"/>
            <a:t>Reduction/ postponement of investments</a:t>
          </a:r>
        </a:p>
      </dgm:t>
    </dgm:pt>
    <dgm:pt modelId="{A800F176-72B7-483F-BA94-D274E17CB412}" type="parTrans" cxnId="{F863B9DA-AB5D-46EE-BA79-52BBE525FC31}">
      <dgm:prSet/>
      <dgm:spPr/>
      <dgm:t>
        <a:bodyPr/>
        <a:lstStyle/>
        <a:p>
          <a:endParaRPr lang="en-GB" sz="1400"/>
        </a:p>
      </dgm:t>
    </dgm:pt>
    <dgm:pt modelId="{C37F0ABF-D6E3-4AF5-A566-181242B8D32D}" type="sibTrans" cxnId="{F863B9DA-AB5D-46EE-BA79-52BBE525FC31}">
      <dgm:prSet/>
      <dgm:spPr/>
      <dgm:t>
        <a:bodyPr/>
        <a:lstStyle/>
        <a:p>
          <a:endParaRPr lang="en-GB" sz="1400"/>
        </a:p>
      </dgm:t>
    </dgm:pt>
    <dgm:pt modelId="{FFA921B9-4E7B-48CF-B6FF-45A2C771C65E}" type="pres">
      <dgm:prSet presAssocID="{93C207F5-706E-4AD3-B85D-47400AD952C0}" presName="hierChild1" presStyleCnt="0">
        <dgm:presLayoutVars>
          <dgm:orgChart val="1"/>
          <dgm:chPref val="1"/>
          <dgm:dir/>
          <dgm:animOne val="branch"/>
          <dgm:animLvl val="lvl"/>
          <dgm:resizeHandles/>
        </dgm:presLayoutVars>
      </dgm:prSet>
      <dgm:spPr/>
    </dgm:pt>
    <dgm:pt modelId="{A2C27683-BA78-4F8E-8A7A-16CD76357EFA}" type="pres">
      <dgm:prSet presAssocID="{2996509D-37D6-46B9-89B4-7A7AC0E53DFD}" presName="hierRoot1" presStyleCnt="0">
        <dgm:presLayoutVars>
          <dgm:hierBranch val="init"/>
        </dgm:presLayoutVars>
      </dgm:prSet>
      <dgm:spPr/>
    </dgm:pt>
    <dgm:pt modelId="{9F8579E3-CADC-403C-9EDB-A2D6EB545FB4}" type="pres">
      <dgm:prSet presAssocID="{2996509D-37D6-46B9-89B4-7A7AC0E53DFD}" presName="rootComposite1" presStyleCnt="0"/>
      <dgm:spPr/>
    </dgm:pt>
    <dgm:pt modelId="{AC314A81-7167-46D8-9533-8226F4DE4A45}" type="pres">
      <dgm:prSet presAssocID="{2996509D-37D6-46B9-89B4-7A7AC0E53DFD}" presName="rootText1" presStyleLbl="node0" presStyleIdx="0" presStyleCnt="1" custScaleX="252873" custScaleY="108726">
        <dgm:presLayoutVars>
          <dgm:chPref val="3"/>
        </dgm:presLayoutVars>
      </dgm:prSet>
      <dgm:spPr/>
    </dgm:pt>
    <dgm:pt modelId="{A5ABC949-1267-44AB-8F50-5C959D747A69}" type="pres">
      <dgm:prSet presAssocID="{2996509D-37D6-46B9-89B4-7A7AC0E53DFD}" presName="rootConnector1" presStyleLbl="node1" presStyleIdx="0" presStyleCnt="0"/>
      <dgm:spPr/>
    </dgm:pt>
    <dgm:pt modelId="{69F1981A-7AE7-405B-953A-04D6C5F52750}" type="pres">
      <dgm:prSet presAssocID="{2996509D-37D6-46B9-89B4-7A7AC0E53DFD}" presName="hierChild2" presStyleCnt="0"/>
      <dgm:spPr/>
    </dgm:pt>
    <dgm:pt modelId="{DE0411A6-A351-457B-8005-4CD10F935587}" type="pres">
      <dgm:prSet presAssocID="{9421269D-A21A-4407-8604-39BCD821812F}" presName="Name37" presStyleLbl="parChTrans1D2" presStyleIdx="0" presStyleCnt="2"/>
      <dgm:spPr/>
    </dgm:pt>
    <dgm:pt modelId="{30E5B3C3-E075-4396-9981-1FD9C68F06B1}" type="pres">
      <dgm:prSet presAssocID="{C10A867B-9C7E-4A8D-9C5C-EB648967E2A7}" presName="hierRoot2" presStyleCnt="0">
        <dgm:presLayoutVars>
          <dgm:hierBranch val="init"/>
        </dgm:presLayoutVars>
      </dgm:prSet>
      <dgm:spPr/>
    </dgm:pt>
    <dgm:pt modelId="{439381E7-A2D9-4E23-8E40-BFEB3836BFB9}" type="pres">
      <dgm:prSet presAssocID="{C10A867B-9C7E-4A8D-9C5C-EB648967E2A7}" presName="rootComposite" presStyleCnt="0"/>
      <dgm:spPr/>
    </dgm:pt>
    <dgm:pt modelId="{4A304EF6-9712-4444-9595-4963A7C1F7DD}" type="pres">
      <dgm:prSet presAssocID="{C10A867B-9C7E-4A8D-9C5C-EB648967E2A7}" presName="rootText" presStyleLbl="node2" presStyleIdx="0" presStyleCnt="2" custScaleX="174176">
        <dgm:presLayoutVars>
          <dgm:chPref val="3"/>
        </dgm:presLayoutVars>
      </dgm:prSet>
      <dgm:spPr/>
    </dgm:pt>
    <dgm:pt modelId="{6B13F6C4-6EEC-4CA0-897B-59A7C0E9E1CB}" type="pres">
      <dgm:prSet presAssocID="{C10A867B-9C7E-4A8D-9C5C-EB648967E2A7}" presName="rootConnector" presStyleLbl="node2" presStyleIdx="0" presStyleCnt="2"/>
      <dgm:spPr/>
    </dgm:pt>
    <dgm:pt modelId="{67EBE058-F007-4468-A797-CB55E0A5769A}" type="pres">
      <dgm:prSet presAssocID="{C10A867B-9C7E-4A8D-9C5C-EB648967E2A7}" presName="hierChild4" presStyleCnt="0"/>
      <dgm:spPr/>
    </dgm:pt>
    <dgm:pt modelId="{3556A469-D7C6-424A-B867-6FF9C73F6874}" type="pres">
      <dgm:prSet presAssocID="{00F3FCD8-6BD4-4A33-8A67-FBBE2BA9A721}" presName="Name37" presStyleLbl="parChTrans1D3" presStyleIdx="0" presStyleCnt="9"/>
      <dgm:spPr/>
    </dgm:pt>
    <dgm:pt modelId="{A761AAC1-2489-46C7-A1A4-B12F053A0BB6}" type="pres">
      <dgm:prSet presAssocID="{DAC9CFA4-F23B-47BF-85D1-42B4794B0F68}" presName="hierRoot2" presStyleCnt="0">
        <dgm:presLayoutVars>
          <dgm:hierBranch val="init"/>
        </dgm:presLayoutVars>
      </dgm:prSet>
      <dgm:spPr/>
    </dgm:pt>
    <dgm:pt modelId="{9F42F416-3D0B-48F8-9F0B-3490A4E612C6}" type="pres">
      <dgm:prSet presAssocID="{DAC9CFA4-F23B-47BF-85D1-42B4794B0F68}" presName="rootComposite" presStyleCnt="0"/>
      <dgm:spPr/>
    </dgm:pt>
    <dgm:pt modelId="{7AEF37A7-EE47-4678-8A61-EE71ABE774AF}" type="pres">
      <dgm:prSet presAssocID="{DAC9CFA4-F23B-47BF-85D1-42B4794B0F68}" presName="rootText" presStyleLbl="node3" presStyleIdx="0" presStyleCnt="9" custScaleX="156190" custLinFactX="-85734" custLinFactNeighborX="-100000" custLinFactNeighborY="-12293">
        <dgm:presLayoutVars>
          <dgm:chPref val="3"/>
        </dgm:presLayoutVars>
      </dgm:prSet>
      <dgm:spPr/>
    </dgm:pt>
    <dgm:pt modelId="{3762FF50-4515-4CD6-97CE-D1840818601A}" type="pres">
      <dgm:prSet presAssocID="{DAC9CFA4-F23B-47BF-85D1-42B4794B0F68}" presName="rootConnector" presStyleLbl="node3" presStyleIdx="0" presStyleCnt="9"/>
      <dgm:spPr/>
    </dgm:pt>
    <dgm:pt modelId="{21A34912-211F-4C14-A4DC-AD797D366991}" type="pres">
      <dgm:prSet presAssocID="{DAC9CFA4-F23B-47BF-85D1-42B4794B0F68}" presName="hierChild4" presStyleCnt="0"/>
      <dgm:spPr/>
    </dgm:pt>
    <dgm:pt modelId="{46139932-F7DF-442F-AFE5-7C9BB2DCAB63}" type="pres">
      <dgm:prSet presAssocID="{DAC9CFA4-F23B-47BF-85D1-42B4794B0F68}" presName="hierChild5" presStyleCnt="0"/>
      <dgm:spPr/>
    </dgm:pt>
    <dgm:pt modelId="{E0320984-410E-4C1D-83E5-23233F6E424A}" type="pres">
      <dgm:prSet presAssocID="{16BEAB49-731F-4859-B863-61909CFF6A31}" presName="Name37" presStyleLbl="parChTrans1D3" presStyleIdx="1" presStyleCnt="9"/>
      <dgm:spPr/>
    </dgm:pt>
    <dgm:pt modelId="{5C8ABC47-B5D0-4EF3-9FB6-0CC7CE5C7999}" type="pres">
      <dgm:prSet presAssocID="{A1759FDE-00FC-437F-88D9-D98421C11A47}" presName="hierRoot2" presStyleCnt="0">
        <dgm:presLayoutVars>
          <dgm:hierBranch val="init"/>
        </dgm:presLayoutVars>
      </dgm:prSet>
      <dgm:spPr/>
    </dgm:pt>
    <dgm:pt modelId="{C19C9E0F-5790-4B81-8AE6-06D1F6E50721}" type="pres">
      <dgm:prSet presAssocID="{A1759FDE-00FC-437F-88D9-D98421C11A47}" presName="rootComposite" presStyleCnt="0"/>
      <dgm:spPr/>
    </dgm:pt>
    <dgm:pt modelId="{3FA3E14D-E1CD-42A3-9731-82A83F2CBFF4}" type="pres">
      <dgm:prSet presAssocID="{A1759FDE-00FC-437F-88D9-D98421C11A47}" presName="rootText" presStyleLbl="node3" presStyleIdx="1" presStyleCnt="9" custScaleX="156190" custLinFactX="-86707" custLinFactNeighborX="-100000" custLinFactNeighborY="-49566">
        <dgm:presLayoutVars>
          <dgm:chPref val="3"/>
        </dgm:presLayoutVars>
      </dgm:prSet>
      <dgm:spPr/>
    </dgm:pt>
    <dgm:pt modelId="{4C975EB4-7653-4746-AAD9-FE9F23AAF090}" type="pres">
      <dgm:prSet presAssocID="{A1759FDE-00FC-437F-88D9-D98421C11A47}" presName="rootConnector" presStyleLbl="node3" presStyleIdx="1" presStyleCnt="9"/>
      <dgm:spPr/>
    </dgm:pt>
    <dgm:pt modelId="{DE6F9A25-BF65-4465-9708-A6ED994B6F4A}" type="pres">
      <dgm:prSet presAssocID="{A1759FDE-00FC-437F-88D9-D98421C11A47}" presName="hierChild4" presStyleCnt="0"/>
      <dgm:spPr/>
    </dgm:pt>
    <dgm:pt modelId="{52BAA078-1835-48F0-9FD0-1DA2D29CE14F}" type="pres">
      <dgm:prSet presAssocID="{A1759FDE-00FC-437F-88D9-D98421C11A47}" presName="hierChild5" presStyleCnt="0"/>
      <dgm:spPr/>
    </dgm:pt>
    <dgm:pt modelId="{A1096241-68BE-49D6-A0AA-3D2D868CF3A6}" type="pres">
      <dgm:prSet presAssocID="{133D57E3-4D91-446E-A271-BB6B24AB8897}" presName="Name37" presStyleLbl="parChTrans1D3" presStyleIdx="2" presStyleCnt="9"/>
      <dgm:spPr/>
    </dgm:pt>
    <dgm:pt modelId="{A9BA42ED-F5EE-4254-8ADE-FCE3D628FA2D}" type="pres">
      <dgm:prSet presAssocID="{0370EF63-5F29-499D-A32F-D1F08C981975}" presName="hierRoot2" presStyleCnt="0">
        <dgm:presLayoutVars>
          <dgm:hierBranch val="init"/>
        </dgm:presLayoutVars>
      </dgm:prSet>
      <dgm:spPr/>
    </dgm:pt>
    <dgm:pt modelId="{7B907ECC-970F-4E16-828A-CF35B845D6CA}" type="pres">
      <dgm:prSet presAssocID="{0370EF63-5F29-499D-A32F-D1F08C981975}" presName="rootComposite" presStyleCnt="0"/>
      <dgm:spPr/>
    </dgm:pt>
    <dgm:pt modelId="{80042F78-CB93-49B0-9807-4EA2E914934A}" type="pres">
      <dgm:prSet presAssocID="{0370EF63-5F29-499D-A32F-D1F08C981975}" presName="rootText" presStyleLbl="node3" presStyleIdx="2" presStyleCnt="9" custScaleX="156190" custLinFactX="-86707" custLinFactNeighborX="-100000" custLinFactNeighborY="-85576">
        <dgm:presLayoutVars>
          <dgm:chPref val="3"/>
        </dgm:presLayoutVars>
      </dgm:prSet>
      <dgm:spPr/>
    </dgm:pt>
    <dgm:pt modelId="{3E02FF38-4695-419D-9DF2-4936CE3B4CE0}" type="pres">
      <dgm:prSet presAssocID="{0370EF63-5F29-499D-A32F-D1F08C981975}" presName="rootConnector" presStyleLbl="node3" presStyleIdx="2" presStyleCnt="9"/>
      <dgm:spPr/>
    </dgm:pt>
    <dgm:pt modelId="{56F1B45E-3CF9-4371-BF75-FDAC9E04732C}" type="pres">
      <dgm:prSet presAssocID="{0370EF63-5F29-499D-A32F-D1F08C981975}" presName="hierChild4" presStyleCnt="0"/>
      <dgm:spPr/>
    </dgm:pt>
    <dgm:pt modelId="{99924A54-0E02-4708-A2E1-B30FC28E64FC}" type="pres">
      <dgm:prSet presAssocID="{0370EF63-5F29-499D-A32F-D1F08C981975}" presName="hierChild5" presStyleCnt="0"/>
      <dgm:spPr/>
    </dgm:pt>
    <dgm:pt modelId="{7BBB6EB4-B939-4B9C-81F5-5D3AEE8D95C9}" type="pres">
      <dgm:prSet presAssocID="{90A789CE-D629-4662-A76F-6128D00A2A7A}" presName="Name37" presStyleLbl="parChTrans1D3" presStyleIdx="3" presStyleCnt="9"/>
      <dgm:spPr/>
    </dgm:pt>
    <dgm:pt modelId="{6DAEDC28-7E01-4A9C-859E-34F784FF5D1D}" type="pres">
      <dgm:prSet presAssocID="{A48C7772-3C3F-4777-A237-8EAC0050684F}" presName="hierRoot2" presStyleCnt="0">
        <dgm:presLayoutVars>
          <dgm:hierBranch val="init"/>
        </dgm:presLayoutVars>
      </dgm:prSet>
      <dgm:spPr/>
    </dgm:pt>
    <dgm:pt modelId="{3DCCB43A-8826-438A-9893-A6D9BFD5CC5E}" type="pres">
      <dgm:prSet presAssocID="{A48C7772-3C3F-4777-A237-8EAC0050684F}" presName="rootComposite" presStyleCnt="0"/>
      <dgm:spPr/>
    </dgm:pt>
    <dgm:pt modelId="{5BB1035E-6EB6-4E4D-898C-D84F688DAA95}" type="pres">
      <dgm:prSet presAssocID="{A48C7772-3C3F-4777-A237-8EAC0050684F}" presName="rootText" presStyleLbl="node3" presStyleIdx="3" presStyleCnt="9" custScaleX="156190" custLinFactX="-86707" custLinFactY="-18639" custLinFactNeighborX="-100000" custLinFactNeighborY="-100000">
        <dgm:presLayoutVars>
          <dgm:chPref val="3"/>
        </dgm:presLayoutVars>
      </dgm:prSet>
      <dgm:spPr/>
    </dgm:pt>
    <dgm:pt modelId="{BF0C28A7-59FF-4625-B774-88DD57FA6CB5}" type="pres">
      <dgm:prSet presAssocID="{A48C7772-3C3F-4777-A237-8EAC0050684F}" presName="rootConnector" presStyleLbl="node3" presStyleIdx="3" presStyleCnt="9"/>
      <dgm:spPr/>
    </dgm:pt>
    <dgm:pt modelId="{72CD524D-8CC6-4410-92A3-615193285A07}" type="pres">
      <dgm:prSet presAssocID="{A48C7772-3C3F-4777-A237-8EAC0050684F}" presName="hierChild4" presStyleCnt="0"/>
      <dgm:spPr/>
    </dgm:pt>
    <dgm:pt modelId="{6B567D67-8974-4FAF-A78D-E6DBF1FC8B8E}" type="pres">
      <dgm:prSet presAssocID="{A48C7772-3C3F-4777-A237-8EAC0050684F}" presName="hierChild5" presStyleCnt="0"/>
      <dgm:spPr/>
    </dgm:pt>
    <dgm:pt modelId="{68821F0D-179F-44CE-92FE-C4DE510BE1FA}" type="pres">
      <dgm:prSet presAssocID="{C10A867B-9C7E-4A8D-9C5C-EB648967E2A7}" presName="hierChild5" presStyleCnt="0"/>
      <dgm:spPr/>
    </dgm:pt>
    <dgm:pt modelId="{0B4432B4-B9CF-46EB-90ED-2E135BC7040A}" type="pres">
      <dgm:prSet presAssocID="{CC50273E-A4B5-4F41-9F8A-B280064E63F8}" presName="Name37" presStyleLbl="parChTrans1D2" presStyleIdx="1" presStyleCnt="2"/>
      <dgm:spPr/>
    </dgm:pt>
    <dgm:pt modelId="{2F3AE90D-43BF-4DA7-8B7F-B6A635DAEEDF}" type="pres">
      <dgm:prSet presAssocID="{DD734669-EFA4-4C99-A16B-C47DC11AC257}" presName="hierRoot2" presStyleCnt="0">
        <dgm:presLayoutVars>
          <dgm:hierBranch val="init"/>
        </dgm:presLayoutVars>
      </dgm:prSet>
      <dgm:spPr/>
    </dgm:pt>
    <dgm:pt modelId="{E31B560E-02DA-4D54-B963-34D00C1D32AD}" type="pres">
      <dgm:prSet presAssocID="{DD734669-EFA4-4C99-A16B-C47DC11AC257}" presName="rootComposite" presStyleCnt="0"/>
      <dgm:spPr/>
    </dgm:pt>
    <dgm:pt modelId="{578BB8A7-17CD-4D1C-83A5-162C72F13EC9}" type="pres">
      <dgm:prSet presAssocID="{DD734669-EFA4-4C99-A16B-C47DC11AC257}" presName="rootText" presStyleLbl="node2" presStyleIdx="1" presStyleCnt="2" custScaleX="181474">
        <dgm:presLayoutVars>
          <dgm:chPref val="3"/>
        </dgm:presLayoutVars>
      </dgm:prSet>
      <dgm:spPr/>
    </dgm:pt>
    <dgm:pt modelId="{4E5F23C7-3366-460F-B261-88F6BEB94C93}" type="pres">
      <dgm:prSet presAssocID="{DD734669-EFA4-4C99-A16B-C47DC11AC257}" presName="rootConnector" presStyleLbl="node2" presStyleIdx="1" presStyleCnt="2"/>
      <dgm:spPr/>
    </dgm:pt>
    <dgm:pt modelId="{46581CCF-E166-4112-9398-8898A092DEBD}" type="pres">
      <dgm:prSet presAssocID="{DD734669-EFA4-4C99-A16B-C47DC11AC257}" presName="hierChild4" presStyleCnt="0"/>
      <dgm:spPr/>
    </dgm:pt>
    <dgm:pt modelId="{B14E7FD9-DA21-4FC7-BF00-8CD022876B49}" type="pres">
      <dgm:prSet presAssocID="{0C867DF7-0152-4678-9386-4601E8B8883C}" presName="Name37" presStyleLbl="parChTrans1D3" presStyleIdx="4" presStyleCnt="9"/>
      <dgm:spPr/>
    </dgm:pt>
    <dgm:pt modelId="{ADA2CC09-7175-4543-B502-6D5F30248465}" type="pres">
      <dgm:prSet presAssocID="{C1B81B48-3B63-4C62-AA20-66CD2B9C91A6}" presName="hierRoot2" presStyleCnt="0">
        <dgm:presLayoutVars>
          <dgm:hierBranch val="init"/>
        </dgm:presLayoutVars>
      </dgm:prSet>
      <dgm:spPr/>
    </dgm:pt>
    <dgm:pt modelId="{02E5553D-1A1F-407B-AD8B-11CF4424F875}" type="pres">
      <dgm:prSet presAssocID="{C1B81B48-3B63-4C62-AA20-66CD2B9C91A6}" presName="rootComposite" presStyleCnt="0"/>
      <dgm:spPr/>
    </dgm:pt>
    <dgm:pt modelId="{445A00AA-3110-462B-AF6E-D595E46EC92F}" type="pres">
      <dgm:prSet presAssocID="{C1B81B48-3B63-4C62-AA20-66CD2B9C91A6}" presName="rootText" presStyleLbl="node3" presStyleIdx="4" presStyleCnt="9" custScaleX="140698" custLinFactX="15971" custLinFactNeighborX="100000" custLinFactNeighborY="-18124">
        <dgm:presLayoutVars>
          <dgm:chPref val="3"/>
        </dgm:presLayoutVars>
      </dgm:prSet>
      <dgm:spPr/>
    </dgm:pt>
    <dgm:pt modelId="{8D87BD80-F373-4BE3-B93D-788C83432492}" type="pres">
      <dgm:prSet presAssocID="{C1B81B48-3B63-4C62-AA20-66CD2B9C91A6}" presName="rootConnector" presStyleLbl="node3" presStyleIdx="4" presStyleCnt="9"/>
      <dgm:spPr/>
    </dgm:pt>
    <dgm:pt modelId="{E7A4A4C5-E1AB-4796-B393-A2762F6960D7}" type="pres">
      <dgm:prSet presAssocID="{C1B81B48-3B63-4C62-AA20-66CD2B9C91A6}" presName="hierChild4" presStyleCnt="0"/>
      <dgm:spPr/>
    </dgm:pt>
    <dgm:pt modelId="{0D789C98-ACD3-4B80-81DD-9FBB256DF16A}" type="pres">
      <dgm:prSet presAssocID="{C1B81B48-3B63-4C62-AA20-66CD2B9C91A6}" presName="hierChild5" presStyleCnt="0"/>
      <dgm:spPr/>
    </dgm:pt>
    <dgm:pt modelId="{4D0E903E-3A04-4919-8DF2-039C691101A2}" type="pres">
      <dgm:prSet presAssocID="{FAE56224-42BE-4F81-B414-22BDF2167AA1}" presName="Name37" presStyleLbl="parChTrans1D3" presStyleIdx="5" presStyleCnt="9"/>
      <dgm:spPr/>
    </dgm:pt>
    <dgm:pt modelId="{677B6191-A436-4CE6-B09F-41AFD0A97DC5}" type="pres">
      <dgm:prSet presAssocID="{5C24817C-1295-482F-93E5-CAA043BE8AC0}" presName="hierRoot2" presStyleCnt="0">
        <dgm:presLayoutVars>
          <dgm:hierBranch val="init"/>
        </dgm:presLayoutVars>
      </dgm:prSet>
      <dgm:spPr/>
    </dgm:pt>
    <dgm:pt modelId="{4E2162B2-B8AD-4F84-8017-2900514021D4}" type="pres">
      <dgm:prSet presAssocID="{5C24817C-1295-482F-93E5-CAA043BE8AC0}" presName="rootComposite" presStyleCnt="0"/>
      <dgm:spPr/>
    </dgm:pt>
    <dgm:pt modelId="{EC55C6DA-A48F-464D-A571-DA9E7D22F95C}" type="pres">
      <dgm:prSet presAssocID="{5C24817C-1295-482F-93E5-CAA043BE8AC0}" presName="rootText" presStyleLbl="node3" presStyleIdx="5" presStyleCnt="9" custScaleX="140698" custLinFactX="15971" custLinFactNeighborX="100000" custLinFactNeighborY="-55397">
        <dgm:presLayoutVars>
          <dgm:chPref val="3"/>
        </dgm:presLayoutVars>
      </dgm:prSet>
      <dgm:spPr/>
    </dgm:pt>
    <dgm:pt modelId="{1B094DBF-5E3B-45CC-8799-540E83659A64}" type="pres">
      <dgm:prSet presAssocID="{5C24817C-1295-482F-93E5-CAA043BE8AC0}" presName="rootConnector" presStyleLbl="node3" presStyleIdx="5" presStyleCnt="9"/>
      <dgm:spPr/>
    </dgm:pt>
    <dgm:pt modelId="{794A213D-B813-4534-966A-48BB9F925B86}" type="pres">
      <dgm:prSet presAssocID="{5C24817C-1295-482F-93E5-CAA043BE8AC0}" presName="hierChild4" presStyleCnt="0"/>
      <dgm:spPr/>
    </dgm:pt>
    <dgm:pt modelId="{44E7278F-BC96-4625-8CCF-BF9FB74F6B84}" type="pres">
      <dgm:prSet presAssocID="{5C24817C-1295-482F-93E5-CAA043BE8AC0}" presName="hierChild5" presStyleCnt="0"/>
      <dgm:spPr/>
    </dgm:pt>
    <dgm:pt modelId="{0CFB0504-C451-4A52-8EC0-62C2AC5C1FE8}" type="pres">
      <dgm:prSet presAssocID="{2DA896E8-403A-4261-989A-A4D5B82972D8}" presName="Name37" presStyleLbl="parChTrans1D3" presStyleIdx="6" presStyleCnt="9"/>
      <dgm:spPr/>
    </dgm:pt>
    <dgm:pt modelId="{A9483ECE-E66B-4720-B5F3-A9C54AD34E32}" type="pres">
      <dgm:prSet presAssocID="{BE5CD816-C488-41AE-9496-C3B88308D23C}" presName="hierRoot2" presStyleCnt="0">
        <dgm:presLayoutVars>
          <dgm:hierBranch val="init"/>
        </dgm:presLayoutVars>
      </dgm:prSet>
      <dgm:spPr/>
    </dgm:pt>
    <dgm:pt modelId="{6EC9643B-F06D-44E9-8747-41989430254A}" type="pres">
      <dgm:prSet presAssocID="{BE5CD816-C488-41AE-9496-C3B88308D23C}" presName="rootComposite" presStyleCnt="0"/>
      <dgm:spPr/>
    </dgm:pt>
    <dgm:pt modelId="{E9FB107A-ABC3-45F8-ABBE-EFACB45F7F77}" type="pres">
      <dgm:prSet presAssocID="{BE5CD816-C488-41AE-9496-C3B88308D23C}" presName="rootText" presStyleLbl="node3" presStyleIdx="6" presStyleCnt="9" custScaleX="140698" custLinFactX="15971" custLinFactNeighborX="100000" custLinFactNeighborY="-89462">
        <dgm:presLayoutVars>
          <dgm:chPref val="3"/>
        </dgm:presLayoutVars>
      </dgm:prSet>
      <dgm:spPr/>
    </dgm:pt>
    <dgm:pt modelId="{9ABBD58F-BBDA-431F-9DDC-56F572C8FCB9}" type="pres">
      <dgm:prSet presAssocID="{BE5CD816-C488-41AE-9496-C3B88308D23C}" presName="rootConnector" presStyleLbl="node3" presStyleIdx="6" presStyleCnt="9"/>
      <dgm:spPr/>
    </dgm:pt>
    <dgm:pt modelId="{7D1E77E3-3761-447D-94F3-E6F4BB44F92B}" type="pres">
      <dgm:prSet presAssocID="{BE5CD816-C488-41AE-9496-C3B88308D23C}" presName="hierChild4" presStyleCnt="0"/>
      <dgm:spPr/>
    </dgm:pt>
    <dgm:pt modelId="{45DFE777-36E1-44E4-9D5D-DBA731014754}" type="pres">
      <dgm:prSet presAssocID="{BE5CD816-C488-41AE-9496-C3B88308D23C}" presName="hierChild5" presStyleCnt="0"/>
      <dgm:spPr/>
    </dgm:pt>
    <dgm:pt modelId="{A31CCB72-0C0F-461B-B700-9D1138A5DEA4}" type="pres">
      <dgm:prSet presAssocID="{C99C9DCE-D46D-4176-AC03-E1F27464E8F1}" presName="Name37" presStyleLbl="parChTrans1D3" presStyleIdx="7" presStyleCnt="9"/>
      <dgm:spPr/>
    </dgm:pt>
    <dgm:pt modelId="{0F192AA6-2C35-4AC3-BA6B-C90FB164C3BE}" type="pres">
      <dgm:prSet presAssocID="{C163E80F-CDE6-4A62-803B-525928121534}" presName="hierRoot2" presStyleCnt="0">
        <dgm:presLayoutVars>
          <dgm:hierBranch val="init"/>
        </dgm:presLayoutVars>
      </dgm:prSet>
      <dgm:spPr/>
    </dgm:pt>
    <dgm:pt modelId="{2570D120-08CC-40BD-8532-F3E14C4AC386}" type="pres">
      <dgm:prSet presAssocID="{C163E80F-CDE6-4A62-803B-525928121534}" presName="rootComposite" presStyleCnt="0"/>
      <dgm:spPr/>
    </dgm:pt>
    <dgm:pt modelId="{D84F8C0C-B555-4F69-BDC1-4AC2C7B3CE16}" type="pres">
      <dgm:prSet presAssocID="{C163E80F-CDE6-4A62-803B-525928121534}" presName="rootText" presStyleLbl="node3" presStyleIdx="7" presStyleCnt="9" custScaleX="140698" custLinFactX="15721" custLinFactY="-22525" custLinFactNeighborX="100000" custLinFactNeighborY="-100000">
        <dgm:presLayoutVars>
          <dgm:chPref val="3"/>
        </dgm:presLayoutVars>
      </dgm:prSet>
      <dgm:spPr/>
    </dgm:pt>
    <dgm:pt modelId="{9CA95456-9BAD-4782-9F9D-D2FA4B03E2DF}" type="pres">
      <dgm:prSet presAssocID="{C163E80F-CDE6-4A62-803B-525928121534}" presName="rootConnector" presStyleLbl="node3" presStyleIdx="7" presStyleCnt="9"/>
      <dgm:spPr/>
    </dgm:pt>
    <dgm:pt modelId="{1F77970E-5497-47F3-85CE-317456720085}" type="pres">
      <dgm:prSet presAssocID="{C163E80F-CDE6-4A62-803B-525928121534}" presName="hierChild4" presStyleCnt="0"/>
      <dgm:spPr/>
    </dgm:pt>
    <dgm:pt modelId="{C71B9CEB-83F4-4FA3-B893-47E2E8183809}" type="pres">
      <dgm:prSet presAssocID="{C163E80F-CDE6-4A62-803B-525928121534}" presName="hierChild5" presStyleCnt="0"/>
      <dgm:spPr/>
    </dgm:pt>
    <dgm:pt modelId="{00BA80B2-07D5-4094-9053-CEE5D339DE93}" type="pres">
      <dgm:prSet presAssocID="{A800F176-72B7-483F-BA94-D274E17CB412}" presName="Name37" presStyleLbl="parChTrans1D3" presStyleIdx="8" presStyleCnt="9"/>
      <dgm:spPr/>
    </dgm:pt>
    <dgm:pt modelId="{C5A825E3-A6BE-43E7-8A8E-176D3AD92D59}" type="pres">
      <dgm:prSet presAssocID="{E24CD9E3-A06B-42D8-8D35-F58A71C6F137}" presName="hierRoot2" presStyleCnt="0">
        <dgm:presLayoutVars>
          <dgm:hierBranch val="init"/>
        </dgm:presLayoutVars>
      </dgm:prSet>
      <dgm:spPr/>
    </dgm:pt>
    <dgm:pt modelId="{FEE64F9A-C0A4-4C9D-BC07-6BAD22AF9BE6}" type="pres">
      <dgm:prSet presAssocID="{E24CD9E3-A06B-42D8-8D35-F58A71C6F137}" presName="rootComposite" presStyleCnt="0"/>
      <dgm:spPr/>
    </dgm:pt>
    <dgm:pt modelId="{B9673546-DA68-46BC-B8FB-F0DEE8947F73}" type="pres">
      <dgm:prSet presAssocID="{E24CD9E3-A06B-42D8-8D35-F58A71C6F137}" presName="rootText" presStyleLbl="node3" presStyleIdx="8" presStyleCnt="9" custScaleX="140698" custLinFactX="15720" custLinFactY="-57533" custLinFactNeighborX="100000" custLinFactNeighborY="-100000">
        <dgm:presLayoutVars>
          <dgm:chPref val="3"/>
        </dgm:presLayoutVars>
      </dgm:prSet>
      <dgm:spPr/>
    </dgm:pt>
    <dgm:pt modelId="{5604793E-1C2C-44FD-A464-A96F034208DA}" type="pres">
      <dgm:prSet presAssocID="{E24CD9E3-A06B-42D8-8D35-F58A71C6F137}" presName="rootConnector" presStyleLbl="node3" presStyleIdx="8" presStyleCnt="9"/>
      <dgm:spPr/>
    </dgm:pt>
    <dgm:pt modelId="{7AE517A6-48AB-46E9-8142-25EDE4786428}" type="pres">
      <dgm:prSet presAssocID="{E24CD9E3-A06B-42D8-8D35-F58A71C6F137}" presName="hierChild4" presStyleCnt="0"/>
      <dgm:spPr/>
    </dgm:pt>
    <dgm:pt modelId="{34277204-E0B3-49A7-9A32-394F0718958D}" type="pres">
      <dgm:prSet presAssocID="{E24CD9E3-A06B-42D8-8D35-F58A71C6F137}" presName="hierChild5" presStyleCnt="0"/>
      <dgm:spPr/>
    </dgm:pt>
    <dgm:pt modelId="{0696BB41-3D65-4D5A-BA4C-69C941AF64AC}" type="pres">
      <dgm:prSet presAssocID="{DD734669-EFA4-4C99-A16B-C47DC11AC257}" presName="hierChild5" presStyleCnt="0"/>
      <dgm:spPr/>
    </dgm:pt>
    <dgm:pt modelId="{6C834DFA-211E-4AE9-BEB2-9B801D97DA13}" type="pres">
      <dgm:prSet presAssocID="{2996509D-37D6-46B9-89B4-7A7AC0E53DFD}" presName="hierChild3" presStyleCnt="0"/>
      <dgm:spPr/>
    </dgm:pt>
  </dgm:ptLst>
  <dgm:cxnLst>
    <dgm:cxn modelId="{A55FC002-30CE-4668-979C-6D6AF9CE560C}" type="presOf" srcId="{2996509D-37D6-46B9-89B4-7A7AC0E53DFD}" destId="{AC314A81-7167-46D8-9533-8226F4DE4A45}" srcOrd="0" destOrd="0" presId="urn:microsoft.com/office/officeart/2005/8/layout/orgChart1"/>
    <dgm:cxn modelId="{4DAAA103-A0D8-4DD5-A723-6EA1D2954D51}" srcId="{C10A867B-9C7E-4A8D-9C5C-EB648967E2A7}" destId="{DAC9CFA4-F23B-47BF-85D1-42B4794B0F68}" srcOrd="0" destOrd="0" parTransId="{00F3FCD8-6BD4-4A33-8A67-FBBE2BA9A721}" sibTransId="{58949B04-6263-46EB-B606-579728F35DC6}"/>
    <dgm:cxn modelId="{8855D10E-F837-46A1-B426-F0E72A3D1E7F}" type="presOf" srcId="{16BEAB49-731F-4859-B863-61909CFF6A31}" destId="{E0320984-410E-4C1D-83E5-23233F6E424A}" srcOrd="0" destOrd="0" presId="urn:microsoft.com/office/officeart/2005/8/layout/orgChart1"/>
    <dgm:cxn modelId="{C9B5120F-DA41-4F50-A659-28F5C10B4962}" type="presOf" srcId="{C163E80F-CDE6-4A62-803B-525928121534}" destId="{9CA95456-9BAD-4782-9F9D-D2FA4B03E2DF}" srcOrd="1" destOrd="0" presId="urn:microsoft.com/office/officeart/2005/8/layout/orgChart1"/>
    <dgm:cxn modelId="{B3287D11-499C-4153-9424-80ED82C49E65}" type="presOf" srcId="{A48C7772-3C3F-4777-A237-8EAC0050684F}" destId="{BF0C28A7-59FF-4625-B774-88DD57FA6CB5}" srcOrd="1" destOrd="0" presId="urn:microsoft.com/office/officeart/2005/8/layout/orgChart1"/>
    <dgm:cxn modelId="{2A623912-5192-43BD-BD87-33DC293FB24F}" type="presOf" srcId="{FAE56224-42BE-4F81-B414-22BDF2167AA1}" destId="{4D0E903E-3A04-4919-8DF2-039C691101A2}" srcOrd="0" destOrd="0" presId="urn:microsoft.com/office/officeart/2005/8/layout/orgChart1"/>
    <dgm:cxn modelId="{95B0C116-333B-43F7-A12A-097158B6A62B}" type="presOf" srcId="{C10A867B-9C7E-4A8D-9C5C-EB648967E2A7}" destId="{4A304EF6-9712-4444-9595-4963A7C1F7DD}" srcOrd="0" destOrd="0" presId="urn:microsoft.com/office/officeart/2005/8/layout/orgChart1"/>
    <dgm:cxn modelId="{67AFDC16-8C68-46F3-9DE3-51F4513842D4}" type="presOf" srcId="{DAC9CFA4-F23B-47BF-85D1-42B4794B0F68}" destId="{7AEF37A7-EE47-4678-8A61-EE71ABE774AF}" srcOrd="0" destOrd="0" presId="urn:microsoft.com/office/officeart/2005/8/layout/orgChart1"/>
    <dgm:cxn modelId="{5A490F20-2071-4E3F-9052-516BAE9A4CF9}" type="presOf" srcId="{DD734669-EFA4-4C99-A16B-C47DC11AC257}" destId="{4E5F23C7-3366-460F-B261-88F6BEB94C93}" srcOrd="1" destOrd="0" presId="urn:microsoft.com/office/officeart/2005/8/layout/orgChart1"/>
    <dgm:cxn modelId="{85E44020-38E0-4A8B-A4AB-89B18FAA9CB8}" srcId="{DD734669-EFA4-4C99-A16B-C47DC11AC257}" destId="{C163E80F-CDE6-4A62-803B-525928121534}" srcOrd="3" destOrd="0" parTransId="{C99C9DCE-D46D-4176-AC03-E1F27464E8F1}" sibTransId="{94B46C1B-0055-48D4-AECD-C20B89E096F0}"/>
    <dgm:cxn modelId="{29A5BC24-CBF2-43BF-B9C8-647A8BC294F9}" type="presOf" srcId="{9421269D-A21A-4407-8604-39BCD821812F}" destId="{DE0411A6-A351-457B-8005-4CD10F935587}" srcOrd="0" destOrd="0" presId="urn:microsoft.com/office/officeart/2005/8/layout/orgChart1"/>
    <dgm:cxn modelId="{57140D31-D93B-4451-A1ED-5990183D3DFE}" type="presOf" srcId="{0370EF63-5F29-499D-A32F-D1F08C981975}" destId="{3E02FF38-4695-419D-9DF2-4936CE3B4CE0}" srcOrd="1" destOrd="0" presId="urn:microsoft.com/office/officeart/2005/8/layout/orgChart1"/>
    <dgm:cxn modelId="{18D43634-4836-4C35-8E39-37108FDB60C3}" type="presOf" srcId="{BE5CD816-C488-41AE-9496-C3B88308D23C}" destId="{E9FB107A-ABC3-45F8-ABBE-EFACB45F7F77}" srcOrd="0" destOrd="0" presId="urn:microsoft.com/office/officeart/2005/8/layout/orgChart1"/>
    <dgm:cxn modelId="{E74C4337-F905-4ABE-A63D-7236C9B2381F}" srcId="{C10A867B-9C7E-4A8D-9C5C-EB648967E2A7}" destId="{0370EF63-5F29-499D-A32F-D1F08C981975}" srcOrd="2" destOrd="0" parTransId="{133D57E3-4D91-446E-A271-BB6B24AB8897}" sibTransId="{C2A3CB82-1295-4E53-91C9-89F75FDC9FA7}"/>
    <dgm:cxn modelId="{ADF27A3B-405A-448E-AFFE-1A57923E0BED}" type="presOf" srcId="{93C207F5-706E-4AD3-B85D-47400AD952C0}" destId="{FFA921B9-4E7B-48CF-B6FF-45A2C771C65E}" srcOrd="0" destOrd="0" presId="urn:microsoft.com/office/officeart/2005/8/layout/orgChart1"/>
    <dgm:cxn modelId="{9DA34442-0C4B-4D24-880B-F244A00B93E1}" type="presOf" srcId="{2DA896E8-403A-4261-989A-A4D5B82972D8}" destId="{0CFB0504-C451-4A52-8EC0-62C2AC5C1FE8}" srcOrd="0" destOrd="0" presId="urn:microsoft.com/office/officeart/2005/8/layout/orgChart1"/>
    <dgm:cxn modelId="{5AC62D44-0D9B-413B-98AD-949D29B44612}" srcId="{93C207F5-706E-4AD3-B85D-47400AD952C0}" destId="{2996509D-37D6-46B9-89B4-7A7AC0E53DFD}" srcOrd="0" destOrd="0" parTransId="{B723190F-CE90-4B58-B72A-E0C326A71C7B}" sibTransId="{51078989-83B2-47C1-B433-EB4C0F03F9DA}"/>
    <dgm:cxn modelId="{3DCC8948-AC3F-4026-8A84-DDE0B8B7CA03}" type="presOf" srcId="{A1759FDE-00FC-437F-88D9-D98421C11A47}" destId="{4C975EB4-7653-4746-AAD9-FE9F23AAF090}" srcOrd="1" destOrd="0" presId="urn:microsoft.com/office/officeart/2005/8/layout/orgChart1"/>
    <dgm:cxn modelId="{8E3F2549-4706-43E3-AB9C-9E067F910161}" type="presOf" srcId="{5C24817C-1295-482F-93E5-CAA043BE8AC0}" destId="{EC55C6DA-A48F-464D-A571-DA9E7D22F95C}" srcOrd="0" destOrd="0" presId="urn:microsoft.com/office/officeart/2005/8/layout/orgChart1"/>
    <dgm:cxn modelId="{EF1BB649-1D5E-407E-A3C0-09D770F160F6}" type="presOf" srcId="{0C867DF7-0152-4678-9386-4601E8B8883C}" destId="{B14E7FD9-DA21-4FC7-BF00-8CD022876B49}" srcOrd="0" destOrd="0" presId="urn:microsoft.com/office/officeart/2005/8/layout/orgChart1"/>
    <dgm:cxn modelId="{B0C8FA4D-6520-42A1-86D1-62885D56FE02}" type="presOf" srcId="{DAC9CFA4-F23B-47BF-85D1-42B4794B0F68}" destId="{3762FF50-4515-4CD6-97CE-D1840818601A}" srcOrd="1" destOrd="0" presId="urn:microsoft.com/office/officeart/2005/8/layout/orgChart1"/>
    <dgm:cxn modelId="{5A823273-5093-42CA-85A1-17BC581E5A06}" srcId="{DD734669-EFA4-4C99-A16B-C47DC11AC257}" destId="{5C24817C-1295-482F-93E5-CAA043BE8AC0}" srcOrd="1" destOrd="0" parTransId="{FAE56224-42BE-4F81-B414-22BDF2167AA1}" sibTransId="{4BB88FEB-6BCF-44E3-9A64-C80CFC6AF244}"/>
    <dgm:cxn modelId="{90820D75-8C17-4EC2-BD39-E2B6A98910E1}" type="presOf" srcId="{5C24817C-1295-482F-93E5-CAA043BE8AC0}" destId="{1B094DBF-5E3B-45CC-8799-540E83659A64}" srcOrd="1" destOrd="0" presId="urn:microsoft.com/office/officeart/2005/8/layout/orgChart1"/>
    <dgm:cxn modelId="{BE44AC75-E403-425E-B29A-A97ABEC95B07}" srcId="{2996509D-37D6-46B9-89B4-7A7AC0E53DFD}" destId="{C10A867B-9C7E-4A8D-9C5C-EB648967E2A7}" srcOrd="0" destOrd="0" parTransId="{9421269D-A21A-4407-8604-39BCD821812F}" sibTransId="{62B9F2E8-1D1C-43BD-8F29-4AEC2AB62A33}"/>
    <dgm:cxn modelId="{7FCC2E58-F82C-4F35-B491-36B17504D8C0}" type="presOf" srcId="{A800F176-72B7-483F-BA94-D274E17CB412}" destId="{00BA80B2-07D5-4094-9053-CEE5D339DE93}" srcOrd="0" destOrd="0" presId="urn:microsoft.com/office/officeart/2005/8/layout/orgChart1"/>
    <dgm:cxn modelId="{064B7A5A-72D8-4455-AB84-EE64C82E9EF7}" srcId="{C10A867B-9C7E-4A8D-9C5C-EB648967E2A7}" destId="{A48C7772-3C3F-4777-A237-8EAC0050684F}" srcOrd="3" destOrd="0" parTransId="{90A789CE-D629-4662-A76F-6128D00A2A7A}" sibTransId="{EFB88896-D9AC-4659-B422-95A155C64A1D}"/>
    <dgm:cxn modelId="{0254207D-8D78-4E59-8E4B-B418ECA2049A}" type="presOf" srcId="{A1759FDE-00FC-437F-88D9-D98421C11A47}" destId="{3FA3E14D-E1CD-42A3-9731-82A83F2CBFF4}" srcOrd="0" destOrd="0" presId="urn:microsoft.com/office/officeart/2005/8/layout/orgChart1"/>
    <dgm:cxn modelId="{47D6C77E-6A8B-4893-83F6-5270C37DBC2D}" srcId="{DD734669-EFA4-4C99-A16B-C47DC11AC257}" destId="{C1B81B48-3B63-4C62-AA20-66CD2B9C91A6}" srcOrd="0" destOrd="0" parTransId="{0C867DF7-0152-4678-9386-4601E8B8883C}" sibTransId="{F7187639-905E-48DB-A754-52BF4FA8126B}"/>
    <dgm:cxn modelId="{7CE43E85-67B6-4B5F-B699-9F0559A8F5C2}" type="presOf" srcId="{C99C9DCE-D46D-4176-AC03-E1F27464E8F1}" destId="{A31CCB72-0C0F-461B-B700-9D1138A5DEA4}" srcOrd="0" destOrd="0" presId="urn:microsoft.com/office/officeart/2005/8/layout/orgChart1"/>
    <dgm:cxn modelId="{30D44486-9FEE-4C6F-A889-77C7FB4A77DC}" type="presOf" srcId="{2996509D-37D6-46B9-89B4-7A7AC0E53DFD}" destId="{A5ABC949-1267-44AB-8F50-5C959D747A69}" srcOrd="1" destOrd="0" presId="urn:microsoft.com/office/officeart/2005/8/layout/orgChart1"/>
    <dgm:cxn modelId="{E5766F8D-4EB5-481B-8B99-2AD9BDD260BD}" type="presOf" srcId="{A48C7772-3C3F-4777-A237-8EAC0050684F}" destId="{5BB1035E-6EB6-4E4D-898C-D84F688DAA95}" srcOrd="0" destOrd="0" presId="urn:microsoft.com/office/officeart/2005/8/layout/orgChart1"/>
    <dgm:cxn modelId="{0D8DCB8E-220E-4E4F-9071-DF27D84DBEDE}" srcId="{2996509D-37D6-46B9-89B4-7A7AC0E53DFD}" destId="{DD734669-EFA4-4C99-A16B-C47DC11AC257}" srcOrd="1" destOrd="0" parTransId="{CC50273E-A4B5-4F41-9F8A-B280064E63F8}" sibTransId="{FC40561F-4946-4575-A78B-877A85762064}"/>
    <dgm:cxn modelId="{1541159D-9DE3-4065-BAC0-0D81429D18F9}" type="presOf" srcId="{133D57E3-4D91-446E-A271-BB6B24AB8897}" destId="{A1096241-68BE-49D6-A0AA-3D2D868CF3A6}" srcOrd="0" destOrd="0" presId="urn:microsoft.com/office/officeart/2005/8/layout/orgChart1"/>
    <dgm:cxn modelId="{4CB876A1-585E-432B-9DDA-2F980D961939}" type="presOf" srcId="{DD734669-EFA4-4C99-A16B-C47DC11AC257}" destId="{578BB8A7-17CD-4D1C-83A5-162C72F13EC9}" srcOrd="0" destOrd="0" presId="urn:microsoft.com/office/officeart/2005/8/layout/orgChart1"/>
    <dgm:cxn modelId="{9896AAB0-1AE5-4F0E-95EA-63ADFF50583A}" type="presOf" srcId="{E24CD9E3-A06B-42D8-8D35-F58A71C6F137}" destId="{5604793E-1C2C-44FD-A464-A96F034208DA}" srcOrd="1" destOrd="0" presId="urn:microsoft.com/office/officeart/2005/8/layout/orgChart1"/>
    <dgm:cxn modelId="{264D83B7-D213-406A-ABFC-36218DCED612}" type="presOf" srcId="{E24CD9E3-A06B-42D8-8D35-F58A71C6F137}" destId="{B9673546-DA68-46BC-B8FB-F0DEE8947F73}" srcOrd="0" destOrd="0" presId="urn:microsoft.com/office/officeart/2005/8/layout/orgChart1"/>
    <dgm:cxn modelId="{B32D7BB8-2858-4AEF-8681-584B390BCC38}" type="presOf" srcId="{BE5CD816-C488-41AE-9496-C3B88308D23C}" destId="{9ABBD58F-BBDA-431F-9DDC-56F572C8FCB9}" srcOrd="1" destOrd="0" presId="urn:microsoft.com/office/officeart/2005/8/layout/orgChart1"/>
    <dgm:cxn modelId="{38DCAEBB-1F72-49A2-ABA3-A6F764AFC742}" srcId="{C10A867B-9C7E-4A8D-9C5C-EB648967E2A7}" destId="{A1759FDE-00FC-437F-88D9-D98421C11A47}" srcOrd="1" destOrd="0" parTransId="{16BEAB49-731F-4859-B863-61909CFF6A31}" sibTransId="{4EB3AAC2-30BA-4418-A49D-CB16CD27F58D}"/>
    <dgm:cxn modelId="{A772FFC5-5833-4211-811E-31397EB79886}" type="presOf" srcId="{C10A867B-9C7E-4A8D-9C5C-EB648967E2A7}" destId="{6B13F6C4-6EEC-4CA0-897B-59A7C0E9E1CB}" srcOrd="1" destOrd="0" presId="urn:microsoft.com/office/officeart/2005/8/layout/orgChart1"/>
    <dgm:cxn modelId="{440A02C9-A4CF-42B7-B643-D6775C4F5781}" type="presOf" srcId="{C1B81B48-3B63-4C62-AA20-66CD2B9C91A6}" destId="{8D87BD80-F373-4BE3-B93D-788C83432492}" srcOrd="1" destOrd="0" presId="urn:microsoft.com/office/officeart/2005/8/layout/orgChart1"/>
    <dgm:cxn modelId="{175D20CB-437B-4241-B61B-50C43AD83B0A}" type="presOf" srcId="{90A789CE-D629-4662-A76F-6128D00A2A7A}" destId="{7BBB6EB4-B939-4B9C-81F5-5D3AEE8D95C9}" srcOrd="0" destOrd="0" presId="urn:microsoft.com/office/officeart/2005/8/layout/orgChart1"/>
    <dgm:cxn modelId="{AB42D5D1-9BE1-4252-947D-7CD600D76397}" type="presOf" srcId="{00F3FCD8-6BD4-4A33-8A67-FBBE2BA9A721}" destId="{3556A469-D7C6-424A-B867-6FF9C73F6874}" srcOrd="0" destOrd="0" presId="urn:microsoft.com/office/officeart/2005/8/layout/orgChart1"/>
    <dgm:cxn modelId="{CCA4E1D3-54C3-45F2-B078-A239073CB8D4}" type="presOf" srcId="{C163E80F-CDE6-4A62-803B-525928121534}" destId="{D84F8C0C-B555-4F69-BDC1-4AC2C7B3CE16}" srcOrd="0" destOrd="0" presId="urn:microsoft.com/office/officeart/2005/8/layout/orgChart1"/>
    <dgm:cxn modelId="{F863B9DA-AB5D-46EE-BA79-52BBE525FC31}" srcId="{DD734669-EFA4-4C99-A16B-C47DC11AC257}" destId="{E24CD9E3-A06B-42D8-8D35-F58A71C6F137}" srcOrd="4" destOrd="0" parTransId="{A800F176-72B7-483F-BA94-D274E17CB412}" sibTransId="{C37F0ABF-D6E3-4AF5-A566-181242B8D32D}"/>
    <dgm:cxn modelId="{FDAF50DE-BE80-4D13-82AF-3FDB1EF51B4E}" srcId="{DD734669-EFA4-4C99-A16B-C47DC11AC257}" destId="{BE5CD816-C488-41AE-9496-C3B88308D23C}" srcOrd="2" destOrd="0" parTransId="{2DA896E8-403A-4261-989A-A4D5B82972D8}" sibTransId="{411AD981-F16A-4016-ADA6-F0E1AA7D20A7}"/>
    <dgm:cxn modelId="{1055C8DE-D193-4213-A2D7-0C9A78E7A92C}" type="presOf" srcId="{C1B81B48-3B63-4C62-AA20-66CD2B9C91A6}" destId="{445A00AA-3110-462B-AF6E-D595E46EC92F}" srcOrd="0" destOrd="0" presId="urn:microsoft.com/office/officeart/2005/8/layout/orgChart1"/>
    <dgm:cxn modelId="{01D1A9E3-C519-475B-B20E-91B5A2C1396A}" type="presOf" srcId="{0370EF63-5F29-499D-A32F-D1F08C981975}" destId="{80042F78-CB93-49B0-9807-4EA2E914934A}" srcOrd="0" destOrd="0" presId="urn:microsoft.com/office/officeart/2005/8/layout/orgChart1"/>
    <dgm:cxn modelId="{CF5439EB-2C6E-46CA-863A-905207D771E1}" type="presOf" srcId="{CC50273E-A4B5-4F41-9F8A-B280064E63F8}" destId="{0B4432B4-B9CF-46EB-90ED-2E135BC7040A}" srcOrd="0" destOrd="0" presId="urn:microsoft.com/office/officeart/2005/8/layout/orgChart1"/>
    <dgm:cxn modelId="{4FD6E24E-78E4-4026-989A-2AEFA45241DC}" type="presParOf" srcId="{FFA921B9-4E7B-48CF-B6FF-45A2C771C65E}" destId="{A2C27683-BA78-4F8E-8A7A-16CD76357EFA}" srcOrd="0" destOrd="0" presId="urn:microsoft.com/office/officeart/2005/8/layout/orgChart1"/>
    <dgm:cxn modelId="{4AA8EDCE-9072-43CB-8E65-08D8F178F7D7}" type="presParOf" srcId="{A2C27683-BA78-4F8E-8A7A-16CD76357EFA}" destId="{9F8579E3-CADC-403C-9EDB-A2D6EB545FB4}" srcOrd="0" destOrd="0" presId="urn:microsoft.com/office/officeart/2005/8/layout/orgChart1"/>
    <dgm:cxn modelId="{16129DCC-B3F1-4BA6-94E9-91B61E9C1E08}" type="presParOf" srcId="{9F8579E3-CADC-403C-9EDB-A2D6EB545FB4}" destId="{AC314A81-7167-46D8-9533-8226F4DE4A45}" srcOrd="0" destOrd="0" presId="urn:microsoft.com/office/officeart/2005/8/layout/orgChart1"/>
    <dgm:cxn modelId="{8380CABC-D5EB-40B7-BE3E-83088DF5061D}" type="presParOf" srcId="{9F8579E3-CADC-403C-9EDB-A2D6EB545FB4}" destId="{A5ABC949-1267-44AB-8F50-5C959D747A69}" srcOrd="1" destOrd="0" presId="urn:microsoft.com/office/officeart/2005/8/layout/orgChart1"/>
    <dgm:cxn modelId="{9621DE47-603C-4D83-8773-DC1CBECE9923}" type="presParOf" srcId="{A2C27683-BA78-4F8E-8A7A-16CD76357EFA}" destId="{69F1981A-7AE7-405B-953A-04D6C5F52750}" srcOrd="1" destOrd="0" presId="urn:microsoft.com/office/officeart/2005/8/layout/orgChart1"/>
    <dgm:cxn modelId="{3A634806-2C51-4DF7-937E-738B776FF85D}" type="presParOf" srcId="{69F1981A-7AE7-405B-953A-04D6C5F52750}" destId="{DE0411A6-A351-457B-8005-4CD10F935587}" srcOrd="0" destOrd="0" presId="urn:microsoft.com/office/officeart/2005/8/layout/orgChart1"/>
    <dgm:cxn modelId="{2695F72C-7146-41B4-8A91-91DF6DC06E99}" type="presParOf" srcId="{69F1981A-7AE7-405B-953A-04D6C5F52750}" destId="{30E5B3C3-E075-4396-9981-1FD9C68F06B1}" srcOrd="1" destOrd="0" presId="urn:microsoft.com/office/officeart/2005/8/layout/orgChart1"/>
    <dgm:cxn modelId="{9400A8D5-5465-490F-9DA1-91B742C3C475}" type="presParOf" srcId="{30E5B3C3-E075-4396-9981-1FD9C68F06B1}" destId="{439381E7-A2D9-4E23-8E40-BFEB3836BFB9}" srcOrd="0" destOrd="0" presId="urn:microsoft.com/office/officeart/2005/8/layout/orgChart1"/>
    <dgm:cxn modelId="{60DFF19F-D1ED-4D78-B1F0-94A37479331A}" type="presParOf" srcId="{439381E7-A2D9-4E23-8E40-BFEB3836BFB9}" destId="{4A304EF6-9712-4444-9595-4963A7C1F7DD}" srcOrd="0" destOrd="0" presId="urn:microsoft.com/office/officeart/2005/8/layout/orgChart1"/>
    <dgm:cxn modelId="{B3E37858-07AB-4740-A330-48FB378FE009}" type="presParOf" srcId="{439381E7-A2D9-4E23-8E40-BFEB3836BFB9}" destId="{6B13F6C4-6EEC-4CA0-897B-59A7C0E9E1CB}" srcOrd="1" destOrd="0" presId="urn:microsoft.com/office/officeart/2005/8/layout/orgChart1"/>
    <dgm:cxn modelId="{8A6023B8-4436-4F7A-A575-DBEF1ACE57FD}" type="presParOf" srcId="{30E5B3C3-E075-4396-9981-1FD9C68F06B1}" destId="{67EBE058-F007-4468-A797-CB55E0A5769A}" srcOrd="1" destOrd="0" presId="urn:microsoft.com/office/officeart/2005/8/layout/orgChart1"/>
    <dgm:cxn modelId="{11769C9F-AF61-49E3-8402-8FDA43AD1C85}" type="presParOf" srcId="{67EBE058-F007-4468-A797-CB55E0A5769A}" destId="{3556A469-D7C6-424A-B867-6FF9C73F6874}" srcOrd="0" destOrd="0" presId="urn:microsoft.com/office/officeart/2005/8/layout/orgChart1"/>
    <dgm:cxn modelId="{53F55FC8-239C-42C9-BB58-6C87947DA55A}" type="presParOf" srcId="{67EBE058-F007-4468-A797-CB55E0A5769A}" destId="{A761AAC1-2489-46C7-A1A4-B12F053A0BB6}" srcOrd="1" destOrd="0" presId="urn:microsoft.com/office/officeart/2005/8/layout/orgChart1"/>
    <dgm:cxn modelId="{A54E40E2-E3F3-4650-94BF-09D7AD2D305F}" type="presParOf" srcId="{A761AAC1-2489-46C7-A1A4-B12F053A0BB6}" destId="{9F42F416-3D0B-48F8-9F0B-3490A4E612C6}" srcOrd="0" destOrd="0" presId="urn:microsoft.com/office/officeart/2005/8/layout/orgChart1"/>
    <dgm:cxn modelId="{AE8CCAE6-1365-41AE-B937-968788B2F252}" type="presParOf" srcId="{9F42F416-3D0B-48F8-9F0B-3490A4E612C6}" destId="{7AEF37A7-EE47-4678-8A61-EE71ABE774AF}" srcOrd="0" destOrd="0" presId="urn:microsoft.com/office/officeart/2005/8/layout/orgChart1"/>
    <dgm:cxn modelId="{14D2497C-0ECA-4A8A-B504-D4A6EEDA4171}" type="presParOf" srcId="{9F42F416-3D0B-48F8-9F0B-3490A4E612C6}" destId="{3762FF50-4515-4CD6-97CE-D1840818601A}" srcOrd="1" destOrd="0" presId="urn:microsoft.com/office/officeart/2005/8/layout/orgChart1"/>
    <dgm:cxn modelId="{D78ADCAD-CA8E-4BE4-82B3-7F2A82CC2603}" type="presParOf" srcId="{A761AAC1-2489-46C7-A1A4-B12F053A0BB6}" destId="{21A34912-211F-4C14-A4DC-AD797D366991}" srcOrd="1" destOrd="0" presId="urn:microsoft.com/office/officeart/2005/8/layout/orgChart1"/>
    <dgm:cxn modelId="{AEF96F7D-3B40-4417-8BD9-D49403492F02}" type="presParOf" srcId="{A761AAC1-2489-46C7-A1A4-B12F053A0BB6}" destId="{46139932-F7DF-442F-AFE5-7C9BB2DCAB63}" srcOrd="2" destOrd="0" presId="urn:microsoft.com/office/officeart/2005/8/layout/orgChart1"/>
    <dgm:cxn modelId="{ADB4CB66-1130-4E34-B899-8D7F36872CF7}" type="presParOf" srcId="{67EBE058-F007-4468-A797-CB55E0A5769A}" destId="{E0320984-410E-4C1D-83E5-23233F6E424A}" srcOrd="2" destOrd="0" presId="urn:microsoft.com/office/officeart/2005/8/layout/orgChart1"/>
    <dgm:cxn modelId="{A5737508-D1AF-4897-A5C9-C02ACD76CCB6}" type="presParOf" srcId="{67EBE058-F007-4468-A797-CB55E0A5769A}" destId="{5C8ABC47-B5D0-4EF3-9FB6-0CC7CE5C7999}" srcOrd="3" destOrd="0" presId="urn:microsoft.com/office/officeart/2005/8/layout/orgChart1"/>
    <dgm:cxn modelId="{7D3E5C90-12E7-4FB7-A26A-82496833ECF9}" type="presParOf" srcId="{5C8ABC47-B5D0-4EF3-9FB6-0CC7CE5C7999}" destId="{C19C9E0F-5790-4B81-8AE6-06D1F6E50721}" srcOrd="0" destOrd="0" presId="urn:microsoft.com/office/officeart/2005/8/layout/orgChart1"/>
    <dgm:cxn modelId="{7A9D4924-FDB6-49DC-A738-DC8470C9504B}" type="presParOf" srcId="{C19C9E0F-5790-4B81-8AE6-06D1F6E50721}" destId="{3FA3E14D-E1CD-42A3-9731-82A83F2CBFF4}" srcOrd="0" destOrd="0" presId="urn:microsoft.com/office/officeart/2005/8/layout/orgChart1"/>
    <dgm:cxn modelId="{9A2CBCFF-2AA4-489B-B6AA-91CBFF0B64E4}" type="presParOf" srcId="{C19C9E0F-5790-4B81-8AE6-06D1F6E50721}" destId="{4C975EB4-7653-4746-AAD9-FE9F23AAF090}" srcOrd="1" destOrd="0" presId="urn:microsoft.com/office/officeart/2005/8/layout/orgChart1"/>
    <dgm:cxn modelId="{2B34BFAE-AC83-4A2E-AA33-5EC6915CC598}" type="presParOf" srcId="{5C8ABC47-B5D0-4EF3-9FB6-0CC7CE5C7999}" destId="{DE6F9A25-BF65-4465-9708-A6ED994B6F4A}" srcOrd="1" destOrd="0" presId="urn:microsoft.com/office/officeart/2005/8/layout/orgChart1"/>
    <dgm:cxn modelId="{BAB065F8-F3AC-481A-AB6E-EE4991490983}" type="presParOf" srcId="{5C8ABC47-B5D0-4EF3-9FB6-0CC7CE5C7999}" destId="{52BAA078-1835-48F0-9FD0-1DA2D29CE14F}" srcOrd="2" destOrd="0" presId="urn:microsoft.com/office/officeart/2005/8/layout/orgChart1"/>
    <dgm:cxn modelId="{34B61942-6994-48E8-BC66-E58697C1BC33}" type="presParOf" srcId="{67EBE058-F007-4468-A797-CB55E0A5769A}" destId="{A1096241-68BE-49D6-A0AA-3D2D868CF3A6}" srcOrd="4" destOrd="0" presId="urn:microsoft.com/office/officeart/2005/8/layout/orgChart1"/>
    <dgm:cxn modelId="{A19C048C-08AF-47F1-8E2D-871D6AD0A5E6}" type="presParOf" srcId="{67EBE058-F007-4468-A797-CB55E0A5769A}" destId="{A9BA42ED-F5EE-4254-8ADE-FCE3D628FA2D}" srcOrd="5" destOrd="0" presId="urn:microsoft.com/office/officeart/2005/8/layout/orgChart1"/>
    <dgm:cxn modelId="{B558E017-8729-4A44-B5B6-12B98A40E5C2}" type="presParOf" srcId="{A9BA42ED-F5EE-4254-8ADE-FCE3D628FA2D}" destId="{7B907ECC-970F-4E16-828A-CF35B845D6CA}" srcOrd="0" destOrd="0" presId="urn:microsoft.com/office/officeart/2005/8/layout/orgChart1"/>
    <dgm:cxn modelId="{28912F74-0D14-4D41-B352-FED4958BE472}" type="presParOf" srcId="{7B907ECC-970F-4E16-828A-CF35B845D6CA}" destId="{80042F78-CB93-49B0-9807-4EA2E914934A}" srcOrd="0" destOrd="0" presId="urn:microsoft.com/office/officeart/2005/8/layout/orgChart1"/>
    <dgm:cxn modelId="{F634E520-DE6C-4DF6-81C2-9D583E1CF64A}" type="presParOf" srcId="{7B907ECC-970F-4E16-828A-CF35B845D6CA}" destId="{3E02FF38-4695-419D-9DF2-4936CE3B4CE0}" srcOrd="1" destOrd="0" presId="urn:microsoft.com/office/officeart/2005/8/layout/orgChart1"/>
    <dgm:cxn modelId="{2B00EBE1-39B5-4CAB-8190-52ED6F5FE2B2}" type="presParOf" srcId="{A9BA42ED-F5EE-4254-8ADE-FCE3D628FA2D}" destId="{56F1B45E-3CF9-4371-BF75-FDAC9E04732C}" srcOrd="1" destOrd="0" presId="urn:microsoft.com/office/officeart/2005/8/layout/orgChart1"/>
    <dgm:cxn modelId="{C10442A7-A2A9-4C5A-AF63-247563D4F82B}" type="presParOf" srcId="{A9BA42ED-F5EE-4254-8ADE-FCE3D628FA2D}" destId="{99924A54-0E02-4708-A2E1-B30FC28E64FC}" srcOrd="2" destOrd="0" presId="urn:microsoft.com/office/officeart/2005/8/layout/orgChart1"/>
    <dgm:cxn modelId="{A56292CA-6620-493A-A259-9DFFCEA90789}" type="presParOf" srcId="{67EBE058-F007-4468-A797-CB55E0A5769A}" destId="{7BBB6EB4-B939-4B9C-81F5-5D3AEE8D95C9}" srcOrd="6" destOrd="0" presId="urn:microsoft.com/office/officeart/2005/8/layout/orgChart1"/>
    <dgm:cxn modelId="{09E67566-5375-4000-8F3F-E727087FD3AE}" type="presParOf" srcId="{67EBE058-F007-4468-A797-CB55E0A5769A}" destId="{6DAEDC28-7E01-4A9C-859E-34F784FF5D1D}" srcOrd="7" destOrd="0" presId="urn:microsoft.com/office/officeart/2005/8/layout/orgChart1"/>
    <dgm:cxn modelId="{89AB9B93-FE77-4138-8F5A-91F730703A3C}" type="presParOf" srcId="{6DAEDC28-7E01-4A9C-859E-34F784FF5D1D}" destId="{3DCCB43A-8826-438A-9893-A6D9BFD5CC5E}" srcOrd="0" destOrd="0" presId="urn:microsoft.com/office/officeart/2005/8/layout/orgChart1"/>
    <dgm:cxn modelId="{47F57996-AE38-42B3-B79A-6DB5A55557DC}" type="presParOf" srcId="{3DCCB43A-8826-438A-9893-A6D9BFD5CC5E}" destId="{5BB1035E-6EB6-4E4D-898C-D84F688DAA95}" srcOrd="0" destOrd="0" presId="urn:microsoft.com/office/officeart/2005/8/layout/orgChart1"/>
    <dgm:cxn modelId="{203F1B67-C0D2-4C6F-8E4B-82D9AB4BA25B}" type="presParOf" srcId="{3DCCB43A-8826-438A-9893-A6D9BFD5CC5E}" destId="{BF0C28A7-59FF-4625-B774-88DD57FA6CB5}" srcOrd="1" destOrd="0" presId="urn:microsoft.com/office/officeart/2005/8/layout/orgChart1"/>
    <dgm:cxn modelId="{66E4DC0D-64B9-434A-85CD-E200B66A26F9}" type="presParOf" srcId="{6DAEDC28-7E01-4A9C-859E-34F784FF5D1D}" destId="{72CD524D-8CC6-4410-92A3-615193285A07}" srcOrd="1" destOrd="0" presId="urn:microsoft.com/office/officeart/2005/8/layout/orgChart1"/>
    <dgm:cxn modelId="{31735108-4C9F-490A-A935-D5589FFE1FED}" type="presParOf" srcId="{6DAEDC28-7E01-4A9C-859E-34F784FF5D1D}" destId="{6B567D67-8974-4FAF-A78D-E6DBF1FC8B8E}" srcOrd="2" destOrd="0" presId="urn:microsoft.com/office/officeart/2005/8/layout/orgChart1"/>
    <dgm:cxn modelId="{293D15C4-C287-4B19-906A-A88B416E8E96}" type="presParOf" srcId="{30E5B3C3-E075-4396-9981-1FD9C68F06B1}" destId="{68821F0D-179F-44CE-92FE-C4DE510BE1FA}" srcOrd="2" destOrd="0" presId="urn:microsoft.com/office/officeart/2005/8/layout/orgChart1"/>
    <dgm:cxn modelId="{93B73F4B-63FA-4BC4-AD3A-F8806A81CA36}" type="presParOf" srcId="{69F1981A-7AE7-405B-953A-04D6C5F52750}" destId="{0B4432B4-B9CF-46EB-90ED-2E135BC7040A}" srcOrd="2" destOrd="0" presId="urn:microsoft.com/office/officeart/2005/8/layout/orgChart1"/>
    <dgm:cxn modelId="{D9D3F9FC-2A8E-4027-9989-46386E5C06EC}" type="presParOf" srcId="{69F1981A-7AE7-405B-953A-04D6C5F52750}" destId="{2F3AE90D-43BF-4DA7-8B7F-B6A635DAEEDF}" srcOrd="3" destOrd="0" presId="urn:microsoft.com/office/officeart/2005/8/layout/orgChart1"/>
    <dgm:cxn modelId="{EAA92E44-6300-4E5F-A18A-A55718A17AA0}" type="presParOf" srcId="{2F3AE90D-43BF-4DA7-8B7F-B6A635DAEEDF}" destId="{E31B560E-02DA-4D54-B963-34D00C1D32AD}" srcOrd="0" destOrd="0" presId="urn:microsoft.com/office/officeart/2005/8/layout/orgChart1"/>
    <dgm:cxn modelId="{FB087908-FA5C-4ABB-B67C-B351E90DDF59}" type="presParOf" srcId="{E31B560E-02DA-4D54-B963-34D00C1D32AD}" destId="{578BB8A7-17CD-4D1C-83A5-162C72F13EC9}" srcOrd="0" destOrd="0" presId="urn:microsoft.com/office/officeart/2005/8/layout/orgChart1"/>
    <dgm:cxn modelId="{E7660FB8-5A66-46B1-8C4B-E0C46B075FD7}" type="presParOf" srcId="{E31B560E-02DA-4D54-B963-34D00C1D32AD}" destId="{4E5F23C7-3366-460F-B261-88F6BEB94C93}" srcOrd="1" destOrd="0" presId="urn:microsoft.com/office/officeart/2005/8/layout/orgChart1"/>
    <dgm:cxn modelId="{0A886480-5D8B-45F7-B437-3131046DA99C}" type="presParOf" srcId="{2F3AE90D-43BF-4DA7-8B7F-B6A635DAEEDF}" destId="{46581CCF-E166-4112-9398-8898A092DEBD}" srcOrd="1" destOrd="0" presId="urn:microsoft.com/office/officeart/2005/8/layout/orgChart1"/>
    <dgm:cxn modelId="{633E8F25-4C93-49E6-98EA-53F22B3B7AF1}" type="presParOf" srcId="{46581CCF-E166-4112-9398-8898A092DEBD}" destId="{B14E7FD9-DA21-4FC7-BF00-8CD022876B49}" srcOrd="0" destOrd="0" presId="urn:microsoft.com/office/officeart/2005/8/layout/orgChart1"/>
    <dgm:cxn modelId="{2C2C61FA-AC2C-4004-8BDC-571071B6CAA6}" type="presParOf" srcId="{46581CCF-E166-4112-9398-8898A092DEBD}" destId="{ADA2CC09-7175-4543-B502-6D5F30248465}" srcOrd="1" destOrd="0" presId="urn:microsoft.com/office/officeart/2005/8/layout/orgChart1"/>
    <dgm:cxn modelId="{A2636035-023C-4C54-B4F8-0E7340DF19A9}" type="presParOf" srcId="{ADA2CC09-7175-4543-B502-6D5F30248465}" destId="{02E5553D-1A1F-407B-AD8B-11CF4424F875}" srcOrd="0" destOrd="0" presId="urn:microsoft.com/office/officeart/2005/8/layout/orgChart1"/>
    <dgm:cxn modelId="{1E9EC4E7-E52A-4A95-BCEF-A09F75A9B00D}" type="presParOf" srcId="{02E5553D-1A1F-407B-AD8B-11CF4424F875}" destId="{445A00AA-3110-462B-AF6E-D595E46EC92F}" srcOrd="0" destOrd="0" presId="urn:microsoft.com/office/officeart/2005/8/layout/orgChart1"/>
    <dgm:cxn modelId="{C96BBD67-0069-44D9-BBF9-A38258E6E785}" type="presParOf" srcId="{02E5553D-1A1F-407B-AD8B-11CF4424F875}" destId="{8D87BD80-F373-4BE3-B93D-788C83432492}" srcOrd="1" destOrd="0" presId="urn:microsoft.com/office/officeart/2005/8/layout/orgChart1"/>
    <dgm:cxn modelId="{9F1ED13E-EDB4-418E-930D-1BB91CF4BA19}" type="presParOf" srcId="{ADA2CC09-7175-4543-B502-6D5F30248465}" destId="{E7A4A4C5-E1AB-4796-B393-A2762F6960D7}" srcOrd="1" destOrd="0" presId="urn:microsoft.com/office/officeart/2005/8/layout/orgChart1"/>
    <dgm:cxn modelId="{CD5CC6F2-EA7B-460F-B7F9-A6E1947D8CDC}" type="presParOf" srcId="{ADA2CC09-7175-4543-B502-6D5F30248465}" destId="{0D789C98-ACD3-4B80-81DD-9FBB256DF16A}" srcOrd="2" destOrd="0" presId="urn:microsoft.com/office/officeart/2005/8/layout/orgChart1"/>
    <dgm:cxn modelId="{D2AF4861-92FB-457D-AEEA-7AC31B1A46E9}" type="presParOf" srcId="{46581CCF-E166-4112-9398-8898A092DEBD}" destId="{4D0E903E-3A04-4919-8DF2-039C691101A2}" srcOrd="2" destOrd="0" presId="urn:microsoft.com/office/officeart/2005/8/layout/orgChart1"/>
    <dgm:cxn modelId="{B8C490E3-6B2E-4B0B-8392-ECADA52874DB}" type="presParOf" srcId="{46581CCF-E166-4112-9398-8898A092DEBD}" destId="{677B6191-A436-4CE6-B09F-41AFD0A97DC5}" srcOrd="3" destOrd="0" presId="urn:microsoft.com/office/officeart/2005/8/layout/orgChart1"/>
    <dgm:cxn modelId="{AFEE031D-FCEA-4276-AA74-38E1A00C9587}" type="presParOf" srcId="{677B6191-A436-4CE6-B09F-41AFD0A97DC5}" destId="{4E2162B2-B8AD-4F84-8017-2900514021D4}" srcOrd="0" destOrd="0" presId="urn:microsoft.com/office/officeart/2005/8/layout/orgChart1"/>
    <dgm:cxn modelId="{AEFB888E-E6B8-41D3-B4B3-196E3A20853E}" type="presParOf" srcId="{4E2162B2-B8AD-4F84-8017-2900514021D4}" destId="{EC55C6DA-A48F-464D-A571-DA9E7D22F95C}" srcOrd="0" destOrd="0" presId="urn:microsoft.com/office/officeart/2005/8/layout/orgChart1"/>
    <dgm:cxn modelId="{11520C16-2812-4A69-A6B2-93D22ACABEE9}" type="presParOf" srcId="{4E2162B2-B8AD-4F84-8017-2900514021D4}" destId="{1B094DBF-5E3B-45CC-8799-540E83659A64}" srcOrd="1" destOrd="0" presId="urn:microsoft.com/office/officeart/2005/8/layout/orgChart1"/>
    <dgm:cxn modelId="{45E0AA37-E5BF-40BE-92F2-3F9EA8E7B18F}" type="presParOf" srcId="{677B6191-A436-4CE6-B09F-41AFD0A97DC5}" destId="{794A213D-B813-4534-966A-48BB9F925B86}" srcOrd="1" destOrd="0" presId="urn:microsoft.com/office/officeart/2005/8/layout/orgChart1"/>
    <dgm:cxn modelId="{6BA2C865-3AED-4F20-8C98-AA0DB8C6C02B}" type="presParOf" srcId="{677B6191-A436-4CE6-B09F-41AFD0A97DC5}" destId="{44E7278F-BC96-4625-8CCF-BF9FB74F6B84}" srcOrd="2" destOrd="0" presId="urn:microsoft.com/office/officeart/2005/8/layout/orgChart1"/>
    <dgm:cxn modelId="{BBFCC30D-BEC0-445C-9BEC-3A3FEFC19C1D}" type="presParOf" srcId="{46581CCF-E166-4112-9398-8898A092DEBD}" destId="{0CFB0504-C451-4A52-8EC0-62C2AC5C1FE8}" srcOrd="4" destOrd="0" presId="urn:microsoft.com/office/officeart/2005/8/layout/orgChart1"/>
    <dgm:cxn modelId="{4F6DACF5-05CA-4432-A8FF-4EE581DC1827}" type="presParOf" srcId="{46581CCF-E166-4112-9398-8898A092DEBD}" destId="{A9483ECE-E66B-4720-B5F3-A9C54AD34E32}" srcOrd="5" destOrd="0" presId="urn:microsoft.com/office/officeart/2005/8/layout/orgChart1"/>
    <dgm:cxn modelId="{31EE9813-140D-457A-B307-634D572EE38C}" type="presParOf" srcId="{A9483ECE-E66B-4720-B5F3-A9C54AD34E32}" destId="{6EC9643B-F06D-44E9-8747-41989430254A}" srcOrd="0" destOrd="0" presId="urn:microsoft.com/office/officeart/2005/8/layout/orgChart1"/>
    <dgm:cxn modelId="{6D191D34-480D-4BC7-8DF6-AE7C4969FC79}" type="presParOf" srcId="{6EC9643B-F06D-44E9-8747-41989430254A}" destId="{E9FB107A-ABC3-45F8-ABBE-EFACB45F7F77}" srcOrd="0" destOrd="0" presId="urn:microsoft.com/office/officeart/2005/8/layout/orgChart1"/>
    <dgm:cxn modelId="{C5D905BA-AE90-4F1A-AE20-FE1382094FF9}" type="presParOf" srcId="{6EC9643B-F06D-44E9-8747-41989430254A}" destId="{9ABBD58F-BBDA-431F-9DDC-56F572C8FCB9}" srcOrd="1" destOrd="0" presId="urn:microsoft.com/office/officeart/2005/8/layout/orgChart1"/>
    <dgm:cxn modelId="{03668147-777B-472C-BCEB-37A3AD70F1D4}" type="presParOf" srcId="{A9483ECE-E66B-4720-B5F3-A9C54AD34E32}" destId="{7D1E77E3-3761-447D-94F3-E6F4BB44F92B}" srcOrd="1" destOrd="0" presId="urn:microsoft.com/office/officeart/2005/8/layout/orgChart1"/>
    <dgm:cxn modelId="{0976D46B-6D5B-4CC4-B61E-DC25DD4F5261}" type="presParOf" srcId="{A9483ECE-E66B-4720-B5F3-A9C54AD34E32}" destId="{45DFE777-36E1-44E4-9D5D-DBA731014754}" srcOrd="2" destOrd="0" presId="urn:microsoft.com/office/officeart/2005/8/layout/orgChart1"/>
    <dgm:cxn modelId="{41F31583-9194-47E2-A640-6AE63034CC95}" type="presParOf" srcId="{46581CCF-E166-4112-9398-8898A092DEBD}" destId="{A31CCB72-0C0F-461B-B700-9D1138A5DEA4}" srcOrd="6" destOrd="0" presId="urn:microsoft.com/office/officeart/2005/8/layout/orgChart1"/>
    <dgm:cxn modelId="{576D957C-A6F1-471E-B7DB-575F00DE52EA}" type="presParOf" srcId="{46581CCF-E166-4112-9398-8898A092DEBD}" destId="{0F192AA6-2C35-4AC3-BA6B-C90FB164C3BE}" srcOrd="7" destOrd="0" presId="urn:microsoft.com/office/officeart/2005/8/layout/orgChart1"/>
    <dgm:cxn modelId="{0D806250-58B5-40F7-8A29-B912E010BB0B}" type="presParOf" srcId="{0F192AA6-2C35-4AC3-BA6B-C90FB164C3BE}" destId="{2570D120-08CC-40BD-8532-F3E14C4AC386}" srcOrd="0" destOrd="0" presId="urn:microsoft.com/office/officeart/2005/8/layout/orgChart1"/>
    <dgm:cxn modelId="{21D00ED2-F1FE-4010-9986-92FBB05BE3D6}" type="presParOf" srcId="{2570D120-08CC-40BD-8532-F3E14C4AC386}" destId="{D84F8C0C-B555-4F69-BDC1-4AC2C7B3CE16}" srcOrd="0" destOrd="0" presId="urn:microsoft.com/office/officeart/2005/8/layout/orgChart1"/>
    <dgm:cxn modelId="{9FABF993-4886-4160-BBC0-3B94A07B23FD}" type="presParOf" srcId="{2570D120-08CC-40BD-8532-F3E14C4AC386}" destId="{9CA95456-9BAD-4782-9F9D-D2FA4B03E2DF}" srcOrd="1" destOrd="0" presId="urn:microsoft.com/office/officeart/2005/8/layout/orgChart1"/>
    <dgm:cxn modelId="{9C0D2D61-CB14-4983-8B7E-E580B871C60D}" type="presParOf" srcId="{0F192AA6-2C35-4AC3-BA6B-C90FB164C3BE}" destId="{1F77970E-5497-47F3-85CE-317456720085}" srcOrd="1" destOrd="0" presId="urn:microsoft.com/office/officeart/2005/8/layout/orgChart1"/>
    <dgm:cxn modelId="{74D7B1AD-C592-457D-B201-D4C24FF2F67E}" type="presParOf" srcId="{0F192AA6-2C35-4AC3-BA6B-C90FB164C3BE}" destId="{C71B9CEB-83F4-4FA3-B893-47E2E8183809}" srcOrd="2" destOrd="0" presId="urn:microsoft.com/office/officeart/2005/8/layout/orgChart1"/>
    <dgm:cxn modelId="{904B4D8F-63D0-490D-9AAD-FD05D8BCABB0}" type="presParOf" srcId="{46581CCF-E166-4112-9398-8898A092DEBD}" destId="{00BA80B2-07D5-4094-9053-CEE5D339DE93}" srcOrd="8" destOrd="0" presId="urn:microsoft.com/office/officeart/2005/8/layout/orgChart1"/>
    <dgm:cxn modelId="{0571F453-CA72-4E97-9909-EF2AB723E7CF}" type="presParOf" srcId="{46581CCF-E166-4112-9398-8898A092DEBD}" destId="{C5A825E3-A6BE-43E7-8A8E-176D3AD92D59}" srcOrd="9" destOrd="0" presId="urn:microsoft.com/office/officeart/2005/8/layout/orgChart1"/>
    <dgm:cxn modelId="{82649302-D81D-4EFE-A41E-CB462A976E78}" type="presParOf" srcId="{C5A825E3-A6BE-43E7-8A8E-176D3AD92D59}" destId="{FEE64F9A-C0A4-4C9D-BC07-6BAD22AF9BE6}" srcOrd="0" destOrd="0" presId="urn:microsoft.com/office/officeart/2005/8/layout/orgChart1"/>
    <dgm:cxn modelId="{B2049F4B-3BF2-4A2A-BF34-4D754EAF117E}" type="presParOf" srcId="{FEE64F9A-C0A4-4C9D-BC07-6BAD22AF9BE6}" destId="{B9673546-DA68-46BC-B8FB-F0DEE8947F73}" srcOrd="0" destOrd="0" presId="urn:microsoft.com/office/officeart/2005/8/layout/orgChart1"/>
    <dgm:cxn modelId="{AACD64F0-1018-4F2D-AB71-166C34EB3D55}" type="presParOf" srcId="{FEE64F9A-C0A4-4C9D-BC07-6BAD22AF9BE6}" destId="{5604793E-1C2C-44FD-A464-A96F034208DA}" srcOrd="1" destOrd="0" presId="urn:microsoft.com/office/officeart/2005/8/layout/orgChart1"/>
    <dgm:cxn modelId="{521C7621-0DC4-446A-88A7-42F4C154F879}" type="presParOf" srcId="{C5A825E3-A6BE-43E7-8A8E-176D3AD92D59}" destId="{7AE517A6-48AB-46E9-8142-25EDE4786428}" srcOrd="1" destOrd="0" presId="urn:microsoft.com/office/officeart/2005/8/layout/orgChart1"/>
    <dgm:cxn modelId="{6CD69BDF-C837-45EF-A45D-6EBA9723FF11}" type="presParOf" srcId="{C5A825E3-A6BE-43E7-8A8E-176D3AD92D59}" destId="{34277204-E0B3-49A7-9A32-394F0718958D}" srcOrd="2" destOrd="0" presId="urn:microsoft.com/office/officeart/2005/8/layout/orgChart1"/>
    <dgm:cxn modelId="{5BC258DF-4666-4F61-B5F7-192494180E12}" type="presParOf" srcId="{2F3AE90D-43BF-4DA7-8B7F-B6A635DAEEDF}" destId="{0696BB41-3D65-4D5A-BA4C-69C941AF64AC}" srcOrd="2" destOrd="0" presId="urn:microsoft.com/office/officeart/2005/8/layout/orgChart1"/>
    <dgm:cxn modelId="{B76A4376-DFFC-4F90-87CD-EEAE43D5B005}" type="presParOf" srcId="{A2C27683-BA78-4F8E-8A7A-16CD76357EFA}" destId="{6C834DFA-211E-4AE9-BEB2-9B801D97DA1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BA80B2-07D5-4094-9053-CEE5D339DE93}">
      <dsp:nvSpPr>
        <dsp:cNvPr id="0" name=""/>
        <dsp:cNvSpPr/>
      </dsp:nvSpPr>
      <dsp:spPr>
        <a:xfrm>
          <a:off x="4184237" y="1338492"/>
          <a:ext cx="1525269" cy="2680815"/>
        </a:xfrm>
        <a:custGeom>
          <a:avLst/>
          <a:gdLst/>
          <a:ahLst/>
          <a:cxnLst/>
          <a:rect l="0" t="0" r="0" b="0"/>
          <a:pathLst>
            <a:path>
              <a:moveTo>
                <a:pt x="0" y="0"/>
              </a:moveTo>
              <a:lnTo>
                <a:pt x="0" y="2680815"/>
              </a:lnTo>
              <a:lnTo>
                <a:pt x="1525269" y="268081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CCB72-0C0F-461B-B700-9D1138A5DEA4}">
      <dsp:nvSpPr>
        <dsp:cNvPr id="0" name=""/>
        <dsp:cNvSpPr/>
      </dsp:nvSpPr>
      <dsp:spPr>
        <a:xfrm>
          <a:off x="4184237" y="1338492"/>
          <a:ext cx="1525280" cy="2109980"/>
        </a:xfrm>
        <a:custGeom>
          <a:avLst/>
          <a:gdLst/>
          <a:ahLst/>
          <a:cxnLst/>
          <a:rect l="0" t="0" r="0" b="0"/>
          <a:pathLst>
            <a:path>
              <a:moveTo>
                <a:pt x="0" y="0"/>
              </a:moveTo>
              <a:lnTo>
                <a:pt x="0" y="2109980"/>
              </a:lnTo>
              <a:lnTo>
                <a:pt x="1525280" y="21099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FB0504-C451-4A52-8EC0-62C2AC5C1FE8}">
      <dsp:nvSpPr>
        <dsp:cNvPr id="0" name=""/>
        <dsp:cNvSpPr/>
      </dsp:nvSpPr>
      <dsp:spPr>
        <a:xfrm>
          <a:off x="4184237" y="1338492"/>
          <a:ext cx="1527947" cy="1528768"/>
        </a:xfrm>
        <a:custGeom>
          <a:avLst/>
          <a:gdLst/>
          <a:ahLst/>
          <a:cxnLst/>
          <a:rect l="0" t="0" r="0" b="0"/>
          <a:pathLst>
            <a:path>
              <a:moveTo>
                <a:pt x="0" y="0"/>
              </a:moveTo>
              <a:lnTo>
                <a:pt x="0" y="1528768"/>
              </a:lnTo>
              <a:lnTo>
                <a:pt x="1527947" y="152876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0E903E-3A04-4919-8DF2-039C691101A2}">
      <dsp:nvSpPr>
        <dsp:cNvPr id="0" name=""/>
        <dsp:cNvSpPr/>
      </dsp:nvSpPr>
      <dsp:spPr>
        <a:xfrm>
          <a:off x="4184237" y="1338492"/>
          <a:ext cx="1527947" cy="952901"/>
        </a:xfrm>
        <a:custGeom>
          <a:avLst/>
          <a:gdLst/>
          <a:ahLst/>
          <a:cxnLst/>
          <a:rect l="0" t="0" r="0" b="0"/>
          <a:pathLst>
            <a:path>
              <a:moveTo>
                <a:pt x="0" y="0"/>
              </a:moveTo>
              <a:lnTo>
                <a:pt x="0" y="952901"/>
              </a:lnTo>
              <a:lnTo>
                <a:pt x="1527947" y="95290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14E7FD9-DA21-4FC7-BF00-8CD022876B49}">
      <dsp:nvSpPr>
        <dsp:cNvPr id="0" name=""/>
        <dsp:cNvSpPr/>
      </dsp:nvSpPr>
      <dsp:spPr>
        <a:xfrm>
          <a:off x="4184237" y="1338492"/>
          <a:ext cx="1527947" cy="394151"/>
        </a:xfrm>
        <a:custGeom>
          <a:avLst/>
          <a:gdLst/>
          <a:ahLst/>
          <a:cxnLst/>
          <a:rect l="0" t="0" r="0" b="0"/>
          <a:pathLst>
            <a:path>
              <a:moveTo>
                <a:pt x="0" y="0"/>
              </a:moveTo>
              <a:lnTo>
                <a:pt x="0" y="394151"/>
              </a:lnTo>
              <a:lnTo>
                <a:pt x="1527947" y="39415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4432B4-B9CF-46EB-90ED-2E135BC7040A}">
      <dsp:nvSpPr>
        <dsp:cNvPr id="0" name=""/>
        <dsp:cNvSpPr/>
      </dsp:nvSpPr>
      <dsp:spPr>
        <a:xfrm>
          <a:off x="3917489" y="580878"/>
          <a:ext cx="1041323" cy="224082"/>
        </a:xfrm>
        <a:custGeom>
          <a:avLst/>
          <a:gdLst/>
          <a:ahLst/>
          <a:cxnLst/>
          <a:rect l="0" t="0" r="0" b="0"/>
          <a:pathLst>
            <a:path>
              <a:moveTo>
                <a:pt x="0" y="0"/>
              </a:moveTo>
              <a:lnTo>
                <a:pt x="0" y="112041"/>
              </a:lnTo>
              <a:lnTo>
                <a:pt x="1041323" y="112041"/>
              </a:lnTo>
              <a:lnTo>
                <a:pt x="1041323" y="2240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BB6EB4-B939-4B9C-81F5-5D3AEE8D95C9}">
      <dsp:nvSpPr>
        <dsp:cNvPr id="0" name=""/>
        <dsp:cNvSpPr/>
      </dsp:nvSpPr>
      <dsp:spPr>
        <a:xfrm>
          <a:off x="2001232" y="1338492"/>
          <a:ext cx="91440" cy="2130713"/>
        </a:xfrm>
        <a:custGeom>
          <a:avLst/>
          <a:gdLst/>
          <a:ahLst/>
          <a:cxnLst/>
          <a:rect l="0" t="0" r="0" b="0"/>
          <a:pathLst>
            <a:path>
              <a:moveTo>
                <a:pt x="92570" y="0"/>
              </a:moveTo>
              <a:lnTo>
                <a:pt x="92570" y="2130713"/>
              </a:lnTo>
              <a:lnTo>
                <a:pt x="45720" y="21307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096241-68BE-49D6-A0AA-3D2D868CF3A6}">
      <dsp:nvSpPr>
        <dsp:cNvPr id="0" name=""/>
        <dsp:cNvSpPr/>
      </dsp:nvSpPr>
      <dsp:spPr>
        <a:xfrm>
          <a:off x="2001232" y="1338492"/>
          <a:ext cx="91440" cy="1549501"/>
        </a:xfrm>
        <a:custGeom>
          <a:avLst/>
          <a:gdLst/>
          <a:ahLst/>
          <a:cxnLst/>
          <a:rect l="0" t="0" r="0" b="0"/>
          <a:pathLst>
            <a:path>
              <a:moveTo>
                <a:pt x="92570" y="0"/>
              </a:moveTo>
              <a:lnTo>
                <a:pt x="92570" y="1549501"/>
              </a:lnTo>
              <a:lnTo>
                <a:pt x="45720" y="154950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320984-410E-4C1D-83E5-23233F6E424A}">
      <dsp:nvSpPr>
        <dsp:cNvPr id="0" name=""/>
        <dsp:cNvSpPr/>
      </dsp:nvSpPr>
      <dsp:spPr>
        <a:xfrm>
          <a:off x="2001232" y="1338492"/>
          <a:ext cx="91440" cy="984012"/>
        </a:xfrm>
        <a:custGeom>
          <a:avLst/>
          <a:gdLst/>
          <a:ahLst/>
          <a:cxnLst/>
          <a:rect l="0" t="0" r="0" b="0"/>
          <a:pathLst>
            <a:path>
              <a:moveTo>
                <a:pt x="92570" y="0"/>
              </a:moveTo>
              <a:lnTo>
                <a:pt x="92570" y="984012"/>
              </a:lnTo>
              <a:lnTo>
                <a:pt x="45720" y="98401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556A469-D7C6-424A-B867-6FF9C73F6874}">
      <dsp:nvSpPr>
        <dsp:cNvPr id="0" name=""/>
        <dsp:cNvSpPr/>
      </dsp:nvSpPr>
      <dsp:spPr>
        <a:xfrm>
          <a:off x="2011614" y="1338492"/>
          <a:ext cx="91440" cy="425261"/>
        </a:xfrm>
        <a:custGeom>
          <a:avLst/>
          <a:gdLst/>
          <a:ahLst/>
          <a:cxnLst/>
          <a:rect l="0" t="0" r="0" b="0"/>
          <a:pathLst>
            <a:path>
              <a:moveTo>
                <a:pt x="82187" y="0"/>
              </a:moveTo>
              <a:lnTo>
                <a:pt x="82187" y="425261"/>
              </a:lnTo>
              <a:lnTo>
                <a:pt x="45720" y="42526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0411A6-A351-457B-8005-4CD10F935587}">
      <dsp:nvSpPr>
        <dsp:cNvPr id="0" name=""/>
        <dsp:cNvSpPr/>
      </dsp:nvSpPr>
      <dsp:spPr>
        <a:xfrm>
          <a:off x="2837228" y="580878"/>
          <a:ext cx="1080260" cy="224082"/>
        </a:xfrm>
        <a:custGeom>
          <a:avLst/>
          <a:gdLst/>
          <a:ahLst/>
          <a:cxnLst/>
          <a:rect l="0" t="0" r="0" b="0"/>
          <a:pathLst>
            <a:path>
              <a:moveTo>
                <a:pt x="1080260" y="0"/>
              </a:moveTo>
              <a:lnTo>
                <a:pt x="1080260" y="112041"/>
              </a:lnTo>
              <a:lnTo>
                <a:pt x="0" y="112041"/>
              </a:lnTo>
              <a:lnTo>
                <a:pt x="0" y="2240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314A81-7167-46D8-9533-8226F4DE4A45}">
      <dsp:nvSpPr>
        <dsp:cNvPr id="0" name=""/>
        <dsp:cNvSpPr/>
      </dsp:nvSpPr>
      <dsp:spPr>
        <a:xfrm>
          <a:off x="2568334" y="791"/>
          <a:ext cx="2698310" cy="58008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Operational Measures</a:t>
          </a:r>
        </a:p>
      </dsp:txBody>
      <dsp:txXfrm>
        <a:off x="2568334" y="791"/>
        <a:ext cx="2698310" cy="580086"/>
      </dsp:txXfrm>
    </dsp:sp>
    <dsp:sp modelId="{4A304EF6-9712-4444-9595-4963A7C1F7DD}">
      <dsp:nvSpPr>
        <dsp:cNvPr id="0" name=""/>
        <dsp:cNvSpPr/>
      </dsp:nvSpPr>
      <dsp:spPr>
        <a:xfrm>
          <a:off x="1907946" y="804961"/>
          <a:ext cx="1858564" cy="533530"/>
        </a:xfrm>
        <a:prstGeom prst="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Result effective</a:t>
          </a:r>
        </a:p>
      </dsp:txBody>
      <dsp:txXfrm>
        <a:off x="1907946" y="804961"/>
        <a:ext cx="1858564" cy="533530"/>
      </dsp:txXfrm>
    </dsp:sp>
    <dsp:sp modelId="{7AEF37A7-EE47-4678-8A61-EE71ABE774AF}">
      <dsp:nvSpPr>
        <dsp:cNvPr id="0" name=""/>
        <dsp:cNvSpPr/>
      </dsp:nvSpPr>
      <dsp:spPr>
        <a:xfrm>
          <a:off x="390691" y="1496988"/>
          <a:ext cx="1666643" cy="533530"/>
        </a:xfrm>
        <a:prstGeom prst="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Reduction of material costs</a:t>
          </a:r>
        </a:p>
      </dsp:txBody>
      <dsp:txXfrm>
        <a:off x="390691" y="1496988"/>
        <a:ext cx="1666643" cy="533530"/>
      </dsp:txXfrm>
    </dsp:sp>
    <dsp:sp modelId="{3FA3E14D-E1CD-42A3-9731-82A83F2CBFF4}">
      <dsp:nvSpPr>
        <dsp:cNvPr id="0" name=""/>
        <dsp:cNvSpPr/>
      </dsp:nvSpPr>
      <dsp:spPr>
        <a:xfrm>
          <a:off x="380308" y="2055738"/>
          <a:ext cx="1666643" cy="533530"/>
        </a:xfrm>
        <a:prstGeom prst="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Reduction of personnel expenses</a:t>
          </a:r>
        </a:p>
      </dsp:txBody>
      <dsp:txXfrm>
        <a:off x="380308" y="2055738"/>
        <a:ext cx="1666643" cy="533530"/>
      </dsp:txXfrm>
    </dsp:sp>
    <dsp:sp modelId="{80042F78-CB93-49B0-9807-4EA2E914934A}">
      <dsp:nvSpPr>
        <dsp:cNvPr id="0" name=""/>
        <dsp:cNvSpPr/>
      </dsp:nvSpPr>
      <dsp:spPr>
        <a:xfrm>
          <a:off x="380308" y="2621227"/>
          <a:ext cx="1666643" cy="533530"/>
        </a:xfrm>
        <a:prstGeom prst="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Reduction of other operating expenses</a:t>
          </a:r>
          <a:endParaRPr lang="en-GB" sz="1400" kern="1200" dirty="0"/>
        </a:p>
      </dsp:txBody>
      <dsp:txXfrm>
        <a:off x="380308" y="2621227"/>
        <a:ext cx="1666643" cy="533530"/>
      </dsp:txXfrm>
    </dsp:sp>
    <dsp:sp modelId="{5BB1035E-6EB6-4E4D-898C-D84F688DAA95}">
      <dsp:nvSpPr>
        <dsp:cNvPr id="0" name=""/>
        <dsp:cNvSpPr/>
      </dsp:nvSpPr>
      <dsp:spPr>
        <a:xfrm>
          <a:off x="380308" y="3202440"/>
          <a:ext cx="1666643" cy="533530"/>
        </a:xfrm>
        <a:prstGeom prst="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Short-term sales increase/stabilization</a:t>
          </a:r>
        </a:p>
      </dsp:txBody>
      <dsp:txXfrm>
        <a:off x="380308" y="3202440"/>
        <a:ext cx="1666643" cy="533530"/>
      </dsp:txXfrm>
    </dsp:sp>
    <dsp:sp modelId="{578BB8A7-17CD-4D1C-83A5-162C72F13EC9}">
      <dsp:nvSpPr>
        <dsp:cNvPr id="0" name=""/>
        <dsp:cNvSpPr/>
      </dsp:nvSpPr>
      <dsp:spPr>
        <a:xfrm>
          <a:off x="3990593" y="804961"/>
          <a:ext cx="1936439" cy="53353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Liquidity Effective</a:t>
          </a:r>
        </a:p>
      </dsp:txBody>
      <dsp:txXfrm>
        <a:off x="3990593" y="804961"/>
        <a:ext cx="1936439" cy="533530"/>
      </dsp:txXfrm>
    </dsp:sp>
    <dsp:sp modelId="{445A00AA-3110-462B-AF6E-D595E46EC92F}">
      <dsp:nvSpPr>
        <dsp:cNvPr id="0" name=""/>
        <dsp:cNvSpPr/>
      </dsp:nvSpPr>
      <dsp:spPr>
        <a:xfrm>
          <a:off x="5712185" y="1465877"/>
          <a:ext cx="1501334" cy="53353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Optimization of stocks</a:t>
          </a:r>
        </a:p>
      </dsp:txBody>
      <dsp:txXfrm>
        <a:off x="5712185" y="1465877"/>
        <a:ext cx="1501334" cy="533530"/>
      </dsp:txXfrm>
    </dsp:sp>
    <dsp:sp modelId="{EC55C6DA-A48F-464D-A571-DA9E7D22F95C}">
      <dsp:nvSpPr>
        <dsp:cNvPr id="0" name=""/>
        <dsp:cNvSpPr/>
      </dsp:nvSpPr>
      <dsp:spPr>
        <a:xfrm>
          <a:off x="5712185" y="2024628"/>
          <a:ext cx="1501334" cy="53353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Accounts Receivable Management</a:t>
          </a:r>
        </a:p>
      </dsp:txBody>
      <dsp:txXfrm>
        <a:off x="5712185" y="2024628"/>
        <a:ext cx="1501334" cy="533530"/>
      </dsp:txXfrm>
    </dsp:sp>
    <dsp:sp modelId="{E9FB107A-ABC3-45F8-ABBE-EFACB45F7F77}">
      <dsp:nvSpPr>
        <dsp:cNvPr id="0" name=""/>
        <dsp:cNvSpPr/>
      </dsp:nvSpPr>
      <dsp:spPr>
        <a:xfrm>
          <a:off x="5712185" y="2600494"/>
          <a:ext cx="1501334" cy="53353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Accounts Payable Management</a:t>
          </a:r>
        </a:p>
      </dsp:txBody>
      <dsp:txXfrm>
        <a:off x="5712185" y="2600494"/>
        <a:ext cx="1501334" cy="533530"/>
      </dsp:txXfrm>
    </dsp:sp>
    <dsp:sp modelId="{D84F8C0C-B555-4F69-BDC1-4AC2C7B3CE16}">
      <dsp:nvSpPr>
        <dsp:cNvPr id="0" name=""/>
        <dsp:cNvSpPr/>
      </dsp:nvSpPr>
      <dsp:spPr>
        <a:xfrm>
          <a:off x="5709517" y="3181707"/>
          <a:ext cx="1501334" cy="53353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Disinvestments</a:t>
          </a:r>
        </a:p>
      </dsp:txBody>
      <dsp:txXfrm>
        <a:off x="5709517" y="3181707"/>
        <a:ext cx="1501334" cy="533530"/>
      </dsp:txXfrm>
    </dsp:sp>
    <dsp:sp modelId="{B9673546-DA68-46BC-B8FB-F0DEE8947F73}">
      <dsp:nvSpPr>
        <dsp:cNvPr id="0" name=""/>
        <dsp:cNvSpPr/>
      </dsp:nvSpPr>
      <dsp:spPr>
        <a:xfrm>
          <a:off x="5709507" y="3752542"/>
          <a:ext cx="1501334" cy="53353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Reduction/ postponement of investments</a:t>
          </a:r>
        </a:p>
      </dsp:txBody>
      <dsp:txXfrm>
        <a:off x="5709507" y="3752542"/>
        <a:ext cx="1501334" cy="53353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69E32-89D7-46D0-861D-59D66AAEF632}" type="datetimeFigureOut">
              <a:rPr lang="en-GB" smtClean="0"/>
              <a:t>10/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072A4D-C53E-435C-8262-D32B3245FC69}" type="slidenum">
              <a:rPr lang="en-GB" smtClean="0"/>
              <a:t>‹#›</a:t>
            </a:fld>
            <a:endParaRPr lang="en-GB"/>
          </a:p>
        </p:txBody>
      </p:sp>
    </p:spTree>
    <p:extLst>
      <p:ext uri="{BB962C8B-B14F-4D97-AF65-F5344CB8AC3E}">
        <p14:creationId xmlns:p14="http://schemas.microsoft.com/office/powerpoint/2010/main" val="977182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2942005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443916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554034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842468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961299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789485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68344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2223845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40319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967006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73121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107060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654393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3178446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363102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68344-DFDD-46C9-9F79-66C784F79A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754DA27-229E-49B3-8FD4-76525C56B2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D40616B-04E1-4348-AFB9-365E836BC25B}"/>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5" name="Footer Placeholder 4">
            <a:extLst>
              <a:ext uri="{FF2B5EF4-FFF2-40B4-BE49-F238E27FC236}">
                <a16:creationId xmlns:a16="http://schemas.microsoft.com/office/drawing/2014/main" id="{4C3FB106-9507-4B7A-9279-7FDF03399B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8B8FF8E-8C89-48AB-AC7D-162811440F92}"/>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4085729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2A302-FDB2-4A4F-AF42-42FA13D1071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18C7587-9269-47BF-9024-5C569F286AB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45DA18-9F62-4D07-81D1-472EB31C0EFC}"/>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5" name="Footer Placeholder 4">
            <a:extLst>
              <a:ext uri="{FF2B5EF4-FFF2-40B4-BE49-F238E27FC236}">
                <a16:creationId xmlns:a16="http://schemas.microsoft.com/office/drawing/2014/main" id="{E2763479-EEBF-480B-A71C-2C42CF8A80D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6CAE2F-0A58-45F4-BB7A-A43DD3C9906A}"/>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422879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252090-164F-46BF-B6A5-6813D9556DB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B1C0394-BE90-49FB-90EB-13B5C6C28F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766F6D2-8295-4800-9EAE-48228BCD5C69}"/>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5" name="Footer Placeholder 4">
            <a:extLst>
              <a:ext uri="{FF2B5EF4-FFF2-40B4-BE49-F238E27FC236}">
                <a16:creationId xmlns:a16="http://schemas.microsoft.com/office/drawing/2014/main" id="{F7EAA645-C8EF-45A2-B180-D5371BA89C4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308D2A-0F02-45A9-B3BB-C01D4CDD5B60}"/>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1603724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688081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6A4E8-F8A0-4AF5-8799-769AD15063F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837313D-427C-4055-A5D1-EF3B711DC2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0E437AD-2EE4-4738-885C-9EFE100CF3D3}"/>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5" name="Footer Placeholder 4">
            <a:extLst>
              <a:ext uri="{FF2B5EF4-FFF2-40B4-BE49-F238E27FC236}">
                <a16:creationId xmlns:a16="http://schemas.microsoft.com/office/drawing/2014/main" id="{415DC7F5-7A9E-4255-A715-D470AC5A35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CF278A3-49FD-4981-AAD4-B4EF0878359C}"/>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4199737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FA32E-9D74-427B-AECC-BB355E4AE0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9FC5B1B-68FD-4088-820C-5638ED405F2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E9151F-B21E-4F61-BF23-3CA46814EED5}"/>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5" name="Footer Placeholder 4">
            <a:extLst>
              <a:ext uri="{FF2B5EF4-FFF2-40B4-BE49-F238E27FC236}">
                <a16:creationId xmlns:a16="http://schemas.microsoft.com/office/drawing/2014/main" id="{6080030F-5DDA-4DF6-B2E9-BC9D863E417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9C15CA-B4B4-40C0-8883-C905892B018E}"/>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3683547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BACAC-D8B5-4D33-84E1-CFFDC1976A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096B370-2EBB-4733-B1E5-C770946C650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9975B0C-CBF2-4301-8CEF-CA155EBF8F2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A91EEE8-B351-4CDA-8066-7523CFF034B0}"/>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6" name="Footer Placeholder 5">
            <a:extLst>
              <a:ext uri="{FF2B5EF4-FFF2-40B4-BE49-F238E27FC236}">
                <a16:creationId xmlns:a16="http://schemas.microsoft.com/office/drawing/2014/main" id="{2DED4C57-02D5-4996-AAB0-243D04FCB5A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A638096-B120-4A3C-8412-53FF3219ED98}"/>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855302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C778C-EB45-4C68-BFE4-535A4D32E97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387216-21EA-44C4-BCCB-134A0C5040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36D1D0-6397-4B6C-9F26-4813A0B3F2D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414AE60-AE61-4C74-AB6B-DFC2EA3375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D5E6D5-D9D5-4E50-876B-CA018F6864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826AD3F-BEEA-4128-B679-1296E9CDDE9F}"/>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8" name="Footer Placeholder 7">
            <a:extLst>
              <a:ext uri="{FF2B5EF4-FFF2-40B4-BE49-F238E27FC236}">
                <a16:creationId xmlns:a16="http://schemas.microsoft.com/office/drawing/2014/main" id="{AAB26350-E06F-4FCF-976A-317B7AFDFD7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F980A7E-0986-44CA-A16A-BE0EDB2F5198}"/>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2039092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9C25-A189-4B7D-886B-1DD2D462049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31CC67E-A7EB-4898-A75D-051972537AD4}"/>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4" name="Footer Placeholder 3">
            <a:extLst>
              <a:ext uri="{FF2B5EF4-FFF2-40B4-BE49-F238E27FC236}">
                <a16:creationId xmlns:a16="http://schemas.microsoft.com/office/drawing/2014/main" id="{9F6CB0BD-0828-4606-B342-ADD66E113CD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33C11F1-351F-4C76-BECF-8B29D56B9809}"/>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190006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6C36CF-1C15-44BF-B8E8-AB0040D14AF4}"/>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3" name="Footer Placeholder 2">
            <a:extLst>
              <a:ext uri="{FF2B5EF4-FFF2-40B4-BE49-F238E27FC236}">
                <a16:creationId xmlns:a16="http://schemas.microsoft.com/office/drawing/2014/main" id="{B6FFE387-04E9-45ED-A36B-A6DE1964F9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D0ED7CE-412D-43BF-A5FF-DFAD39ADD556}"/>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2193577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E26A0-06CA-4041-BB69-B97DFBDD86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A34229A-80A2-44DC-A4DF-B05100B08E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6BB8200-9956-4F5F-B0BD-54DCF680FC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6F0657-00AC-41F0-A72B-00D443B59A04}"/>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6" name="Footer Placeholder 5">
            <a:extLst>
              <a:ext uri="{FF2B5EF4-FFF2-40B4-BE49-F238E27FC236}">
                <a16:creationId xmlns:a16="http://schemas.microsoft.com/office/drawing/2014/main" id="{380743C7-5E1E-4212-ADA3-1C41E751A88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D61FAB-1302-4277-8BCD-1E65769DB3F9}"/>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4993163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CD560-B095-472C-AACF-35C40932DB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FFDE81E-FC69-47CB-9311-164CAD377E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4387DAF-41CE-4662-8BDC-D39EDB8F0A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91E17F-731D-43E6-A36C-765033E04BA6}"/>
              </a:ext>
            </a:extLst>
          </p:cNvPr>
          <p:cNvSpPr>
            <a:spLocks noGrp="1"/>
          </p:cNvSpPr>
          <p:nvPr>
            <p:ph type="dt" sz="half" idx="10"/>
          </p:nvPr>
        </p:nvSpPr>
        <p:spPr/>
        <p:txBody>
          <a:bodyPr/>
          <a:lstStyle/>
          <a:p>
            <a:fld id="{B91384E7-45D9-46F7-AF4B-7B3FA6E8D6AD}" type="datetimeFigureOut">
              <a:rPr lang="en-GB" smtClean="0"/>
              <a:t>10/06/2021</a:t>
            </a:fld>
            <a:endParaRPr lang="en-GB"/>
          </a:p>
        </p:txBody>
      </p:sp>
      <p:sp>
        <p:nvSpPr>
          <p:cNvPr id="6" name="Footer Placeholder 5">
            <a:extLst>
              <a:ext uri="{FF2B5EF4-FFF2-40B4-BE49-F238E27FC236}">
                <a16:creationId xmlns:a16="http://schemas.microsoft.com/office/drawing/2014/main" id="{E013A290-2E9D-4CFB-858C-CC0AD36C976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6F1FA15-D07A-4BA9-83CD-61D48F8A44AB}"/>
              </a:ext>
            </a:extLst>
          </p:cNvPr>
          <p:cNvSpPr>
            <a:spLocks noGrp="1"/>
          </p:cNvSpPr>
          <p:nvPr>
            <p:ph type="sldNum" sz="quarter" idx="12"/>
          </p:nvPr>
        </p:nvSpPr>
        <p:spPr/>
        <p:txBody>
          <a:bodyPr/>
          <a:lstStyle/>
          <a:p>
            <a:fld id="{1D7ED6B6-036A-48F6-90E4-E09A1210DF4B}" type="slidenum">
              <a:rPr lang="en-GB" smtClean="0"/>
              <a:t>‹#›</a:t>
            </a:fld>
            <a:endParaRPr lang="en-GB"/>
          </a:p>
        </p:txBody>
      </p:sp>
    </p:spTree>
    <p:extLst>
      <p:ext uri="{BB962C8B-B14F-4D97-AF65-F5344CB8AC3E}">
        <p14:creationId xmlns:p14="http://schemas.microsoft.com/office/powerpoint/2010/main" val="4173109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14F745-8067-4E5D-B890-AF85A150EC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5248060-556A-4459-85A9-B0969D7C93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AE9747F-BB27-4761-AC90-BBB0AC1561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1384E7-45D9-46F7-AF4B-7B3FA6E8D6AD}" type="datetimeFigureOut">
              <a:rPr lang="en-GB" smtClean="0"/>
              <a:t>10/06/2021</a:t>
            </a:fld>
            <a:endParaRPr lang="en-GB"/>
          </a:p>
        </p:txBody>
      </p:sp>
      <p:sp>
        <p:nvSpPr>
          <p:cNvPr id="5" name="Footer Placeholder 4">
            <a:extLst>
              <a:ext uri="{FF2B5EF4-FFF2-40B4-BE49-F238E27FC236}">
                <a16:creationId xmlns:a16="http://schemas.microsoft.com/office/drawing/2014/main" id="{B647436E-F1BC-49B1-9AA5-BA4BE148DF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FC6F682-2B36-462C-A256-C523FB87ED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7ED6B6-036A-48F6-90E4-E09A1210DF4B}" type="slidenum">
              <a:rPr lang="en-GB" smtClean="0"/>
              <a:t>‹#›</a:t>
            </a:fld>
            <a:endParaRPr lang="en-GB"/>
          </a:p>
        </p:txBody>
      </p:sp>
    </p:spTree>
    <p:extLst>
      <p:ext uri="{BB962C8B-B14F-4D97-AF65-F5344CB8AC3E}">
        <p14:creationId xmlns:p14="http://schemas.microsoft.com/office/powerpoint/2010/main" val="1999135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82B3-6C92-4325-B8AB-44EEC4BDA09A}"/>
              </a:ext>
            </a:extLst>
          </p:cNvPr>
          <p:cNvSpPr>
            <a:spLocks noGrp="1"/>
          </p:cNvSpPr>
          <p:nvPr>
            <p:ph type="ctrTitle"/>
          </p:nvPr>
        </p:nvSpPr>
        <p:spPr/>
        <p:txBody>
          <a:bodyPr/>
          <a:lstStyle/>
          <a:p>
            <a:r>
              <a:rPr lang="en-GB" dirty="0"/>
              <a:t>Liquidity and working capital management measures</a:t>
            </a:r>
          </a:p>
        </p:txBody>
      </p:sp>
      <p:sp>
        <p:nvSpPr>
          <p:cNvPr id="3" name="Subtitle 2">
            <a:extLst>
              <a:ext uri="{FF2B5EF4-FFF2-40B4-BE49-F238E27FC236}">
                <a16:creationId xmlns:a16="http://schemas.microsoft.com/office/drawing/2014/main" id="{084B28BA-D45D-4C3E-A27D-98C1906ACF76}"/>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4219970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21296" y="591884"/>
            <a:ext cx="9268475" cy="975659"/>
          </a:xfrm>
        </p:spPr>
        <p:txBody>
          <a:bodyPr>
            <a:normAutofit/>
          </a:bodyPr>
          <a:lstStyle/>
          <a:p>
            <a:r>
              <a:rPr lang="en-GB" sz="2800" dirty="0"/>
              <a:t>Working Capital Management - Inventory Conversion Period</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550277" y="2142491"/>
            <a:ext cx="2810071" cy="422197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The inventory conversion period is the total time needed for production and sales. It includes raw material conversion period, work-in progress conversion period and finished goods conversion period.</a:t>
            </a:r>
            <a:endParaRPr lang="en-US" dirty="0">
              <a:solidFill>
                <a:srgbClr val="245473"/>
              </a:solidFill>
              <a:latin typeface="+mj-lt"/>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mc:AlternateContent xmlns:mc="http://schemas.openxmlformats.org/markup-compatibility/2006" xmlns:a14="http://schemas.microsoft.com/office/drawing/2010/main">
        <mc:Choice Requires="a14">
          <p:sp>
            <p:nvSpPr>
              <p:cNvPr id="4" name="Textfeld 3">
                <a:extLst>
                  <a:ext uri="{FF2B5EF4-FFF2-40B4-BE49-F238E27FC236}">
                    <a16:creationId xmlns:a16="http://schemas.microsoft.com/office/drawing/2014/main" id="{015F034D-E5CC-4B6A-A14A-6742BFAF38C4}"/>
                  </a:ext>
                </a:extLst>
              </p:cNvPr>
              <p:cNvSpPr txBox="1"/>
              <p:nvPr/>
            </p:nvSpPr>
            <p:spPr>
              <a:xfrm>
                <a:off x="3973285" y="2142491"/>
                <a:ext cx="7595785" cy="57265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𝑅𝑎𝑤</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𝑀𝑎𝑡𝑒𝑟𝑖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𝑅𝑎𝑤</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𝑀𝑎𝑡𝑒𝑟𝑖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𝐼𝑛𝑣𝑒𝑛𝑡𝑜𝑟𝑦</m:t>
                          </m:r>
                        </m:num>
                        <m:den>
                          <m:r>
                            <a:rPr lang="en-GB" b="0" i="1" smtClean="0">
                              <a:solidFill>
                                <a:srgbClr val="245473"/>
                              </a:solidFill>
                              <a:latin typeface="Cambria Math" panose="02040503050406030204" pitchFamily="18" charset="0"/>
                            </a:rPr>
                            <m:t>𝑅𝑎𝑤</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𝑀𝑎𝑡𝑒𝑟𝑖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𝑠𝑢𝑝𝑡𝑖𝑜𝑛</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4" name="Textfeld 3">
                <a:extLst>
                  <a:ext uri="{FF2B5EF4-FFF2-40B4-BE49-F238E27FC236}">
                    <a16:creationId xmlns:a16="http://schemas.microsoft.com/office/drawing/2014/main" id="{015F034D-E5CC-4B6A-A14A-6742BFAF38C4}"/>
                  </a:ext>
                </a:extLst>
              </p:cNvPr>
              <p:cNvSpPr txBox="1">
                <a:spLocks noRot="1" noChangeAspect="1" noMove="1" noResize="1" noEditPoints="1" noAdjustHandles="1" noChangeArrowheads="1" noChangeShapeType="1" noTextEdit="1"/>
              </p:cNvSpPr>
              <p:nvPr/>
            </p:nvSpPr>
            <p:spPr>
              <a:xfrm>
                <a:off x="3973285" y="2142491"/>
                <a:ext cx="7595785" cy="572657"/>
              </a:xfrm>
              <a:prstGeom prst="rect">
                <a:avLst/>
              </a:prstGeom>
              <a:blipFill>
                <a:blip r:embed="rId6"/>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13" name="Textfeld 12">
                <a:extLst>
                  <a:ext uri="{FF2B5EF4-FFF2-40B4-BE49-F238E27FC236}">
                    <a16:creationId xmlns:a16="http://schemas.microsoft.com/office/drawing/2014/main" id="{395C971B-5CB3-49E9-B427-ED6C0B7A50F1}"/>
                  </a:ext>
                </a:extLst>
              </p:cNvPr>
              <p:cNvSpPr txBox="1"/>
              <p:nvPr/>
            </p:nvSpPr>
            <p:spPr>
              <a:xfrm>
                <a:off x="3892289" y="3142671"/>
                <a:ext cx="7456913" cy="57458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𝑊𝑜𝑟𝑘</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𝑖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𝑟𝑜𝑔𝑟𝑎𝑠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𝑊𝑜𝑟𝑘</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𝑖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𝑟𝑜𝑔𝑟𝑒𝑠𝑠</m:t>
                          </m:r>
                        </m:num>
                        <m:den>
                          <m:r>
                            <a:rPr lang="en-GB" b="0" i="1" smtClean="0">
                              <a:solidFill>
                                <a:srgbClr val="245473"/>
                              </a:solidFill>
                              <a:latin typeface="Cambria Math" panose="02040503050406030204" pitchFamily="18" charset="0"/>
                            </a:rPr>
                            <m:t>𝐶𝑜𝑠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𝑜𝑓</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𝑟𝑜𝑑𝑢𝑐𝑡𝑖𝑜𝑛</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13" name="Textfeld 12">
                <a:extLst>
                  <a:ext uri="{FF2B5EF4-FFF2-40B4-BE49-F238E27FC236}">
                    <a16:creationId xmlns:a16="http://schemas.microsoft.com/office/drawing/2014/main" id="{395C971B-5CB3-49E9-B427-ED6C0B7A50F1}"/>
                  </a:ext>
                </a:extLst>
              </p:cNvPr>
              <p:cNvSpPr txBox="1">
                <a:spLocks noRot="1" noChangeAspect="1" noMove="1" noResize="1" noEditPoints="1" noAdjustHandles="1" noChangeArrowheads="1" noChangeShapeType="1" noTextEdit="1"/>
              </p:cNvSpPr>
              <p:nvPr/>
            </p:nvSpPr>
            <p:spPr>
              <a:xfrm>
                <a:off x="3892289" y="3142671"/>
                <a:ext cx="7456913" cy="574581"/>
              </a:xfrm>
              <a:prstGeom prst="rect">
                <a:avLst/>
              </a:prstGeom>
              <a:blipFill>
                <a:blip r:embed="rId7"/>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14" name="Textfeld 13">
                <a:extLst>
                  <a:ext uri="{FF2B5EF4-FFF2-40B4-BE49-F238E27FC236}">
                    <a16:creationId xmlns:a16="http://schemas.microsoft.com/office/drawing/2014/main" id="{897E6434-CC52-48E7-9A19-F287356DA4CC}"/>
                  </a:ext>
                </a:extLst>
              </p:cNvPr>
              <p:cNvSpPr txBox="1"/>
              <p:nvPr/>
            </p:nvSpPr>
            <p:spPr>
              <a:xfrm>
                <a:off x="3892288" y="4142853"/>
                <a:ext cx="7890814" cy="57458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𝐹𝑖𝑛𝑖𝑠h𝑒𝑑</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𝐺𝑜𝑜𝑑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𝐹𝑖𝑛𝑖𝑠h𝑒𝑑</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𝐺𝑜𝑜𝑑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𝐼𝑛𝑣𝑒𝑛𝑡𝑜𝑟𝑦</m:t>
                          </m:r>
                        </m:num>
                        <m:den>
                          <m:r>
                            <a:rPr lang="en-GB" b="0" i="1" smtClean="0">
                              <a:solidFill>
                                <a:srgbClr val="245473"/>
                              </a:solidFill>
                              <a:latin typeface="Cambria Math" panose="02040503050406030204" pitchFamily="18" charset="0"/>
                            </a:rPr>
                            <m:t>𝐶𝑜𝑠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𝑜𝑓</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𝐺𝑜𝑜𝑑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𝑆𝑜𝑙𝑑</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14" name="Textfeld 13">
                <a:extLst>
                  <a:ext uri="{FF2B5EF4-FFF2-40B4-BE49-F238E27FC236}">
                    <a16:creationId xmlns:a16="http://schemas.microsoft.com/office/drawing/2014/main" id="{897E6434-CC52-48E7-9A19-F287356DA4CC}"/>
                  </a:ext>
                </a:extLst>
              </p:cNvPr>
              <p:cNvSpPr txBox="1">
                <a:spLocks noRot="1" noChangeAspect="1" noMove="1" noResize="1" noEditPoints="1" noAdjustHandles="1" noChangeArrowheads="1" noChangeShapeType="1" noTextEdit="1"/>
              </p:cNvSpPr>
              <p:nvPr/>
            </p:nvSpPr>
            <p:spPr>
              <a:xfrm>
                <a:off x="3892288" y="4142853"/>
                <a:ext cx="7890814" cy="574581"/>
              </a:xfrm>
              <a:prstGeom prst="rect">
                <a:avLst/>
              </a:prstGeom>
              <a:blipFill>
                <a:blip r:embed="rId8"/>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8422522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75724" y="608893"/>
            <a:ext cx="9703905" cy="947764"/>
          </a:xfrm>
        </p:spPr>
        <p:txBody>
          <a:bodyPr>
            <a:normAutofit fontScale="92500" lnSpcReduction="10000"/>
          </a:bodyPr>
          <a:lstStyle/>
          <a:p>
            <a:r>
              <a:rPr lang="en-GB" dirty="0"/>
              <a:t>Working Capital Management - Debtors Conversion Period</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58392" y="1798107"/>
            <a:ext cx="3733897"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The debtors conversion period is the time required to collect the outstanding debts from customers. However, a company may acquire goods or services on credit thereby positioning payment.</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he period during which payment is postponed is known as payable deferral period. It is the length of time the firm is able to defer payments on various purchases. The difference between the(gross) operating cycle and payable deferral period is known as net operating cycle or cash conversion cycle. </a:t>
            </a:r>
          </a:p>
        </p:txBody>
      </p:sp>
      <mc:AlternateContent xmlns:mc="http://schemas.openxmlformats.org/markup-compatibility/2006" xmlns:a14="http://schemas.microsoft.com/office/drawing/2010/main">
        <mc:Choice Requires="a14">
          <p:sp>
            <p:nvSpPr>
              <p:cNvPr id="4" name="Textfeld 3">
                <a:extLst>
                  <a:ext uri="{FF2B5EF4-FFF2-40B4-BE49-F238E27FC236}">
                    <a16:creationId xmlns:a16="http://schemas.microsoft.com/office/drawing/2014/main" id="{015F034D-E5CC-4B6A-A14A-6742BFAF38C4}"/>
                  </a:ext>
                </a:extLst>
              </p:cNvPr>
              <p:cNvSpPr txBox="1"/>
              <p:nvPr/>
            </p:nvSpPr>
            <p:spPr>
              <a:xfrm>
                <a:off x="4082294" y="2831260"/>
                <a:ext cx="7627152" cy="5276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𝐷𝑒𝑏𝑡𝑜𝑟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𝐷𝑒𝑏𝑡𝑜𝑟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𝐴𝑐𝑐𝑜𝑢𝑛𝑡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𝑅𝑒𝑐𝑒𝑖𝑣𝑎𝑏𝑙𝑒</m:t>
                          </m:r>
                          <m:r>
                            <a:rPr lang="en-GB" b="0" i="1" smtClean="0">
                              <a:solidFill>
                                <a:srgbClr val="245473"/>
                              </a:solidFill>
                              <a:latin typeface="Cambria Math" panose="02040503050406030204" pitchFamily="18" charset="0"/>
                            </a:rPr>
                            <m:t>)</m:t>
                          </m:r>
                        </m:num>
                        <m:den>
                          <m:r>
                            <a:rPr lang="en-GB" b="0" i="1" smtClean="0">
                              <a:solidFill>
                                <a:srgbClr val="245473"/>
                              </a:solidFill>
                              <a:latin typeface="Cambria Math" panose="02040503050406030204" pitchFamily="18" charset="0"/>
                            </a:rPr>
                            <m:t>𝐶𝑟𝑒𝑑𝑖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𝑆𝑎𝑙𝑒𝑠</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4" name="Textfeld 3">
                <a:extLst>
                  <a:ext uri="{FF2B5EF4-FFF2-40B4-BE49-F238E27FC236}">
                    <a16:creationId xmlns:a16="http://schemas.microsoft.com/office/drawing/2014/main" id="{015F034D-E5CC-4B6A-A14A-6742BFAF38C4}"/>
                  </a:ext>
                </a:extLst>
              </p:cNvPr>
              <p:cNvSpPr txBox="1">
                <a:spLocks noRot="1" noChangeAspect="1" noMove="1" noResize="1" noEditPoints="1" noAdjustHandles="1" noChangeArrowheads="1" noChangeShapeType="1" noTextEdit="1"/>
              </p:cNvSpPr>
              <p:nvPr/>
            </p:nvSpPr>
            <p:spPr>
              <a:xfrm>
                <a:off x="4082294" y="2831260"/>
                <a:ext cx="7627152" cy="527645"/>
              </a:xfrm>
              <a:prstGeom prst="rect">
                <a:avLst/>
              </a:prstGeom>
              <a:blipFill>
                <a:blip r:embed="rId6"/>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13" name="Textfeld 12">
                <a:extLst>
                  <a:ext uri="{FF2B5EF4-FFF2-40B4-BE49-F238E27FC236}">
                    <a16:creationId xmlns:a16="http://schemas.microsoft.com/office/drawing/2014/main" id="{395C971B-5CB3-49E9-B427-ED6C0B7A50F1}"/>
                  </a:ext>
                </a:extLst>
              </p:cNvPr>
              <p:cNvSpPr txBox="1"/>
              <p:nvPr/>
            </p:nvSpPr>
            <p:spPr>
              <a:xfrm>
                <a:off x="4082294" y="3831440"/>
                <a:ext cx="7390035" cy="5275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𝑃𝑎𝑦𝑎𝑏𝑙𝑒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𝐷𝑒𝑓𝑒𝑟𝑟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𝐶𝑟𝑒𝑑𝑖𝑡𝑜𝑟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𝐴𝑐𝑐𝑜𝑢𝑛𝑡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𝑎𝑦𝑎𝑏𝑙𝑒</m:t>
                          </m:r>
                          <m:r>
                            <a:rPr lang="en-GB" b="0" i="1" smtClean="0">
                              <a:solidFill>
                                <a:srgbClr val="245473"/>
                              </a:solidFill>
                              <a:latin typeface="Cambria Math" panose="02040503050406030204" pitchFamily="18" charset="0"/>
                            </a:rPr>
                            <m:t>)</m:t>
                          </m:r>
                        </m:num>
                        <m:den>
                          <m:r>
                            <a:rPr lang="en-GB" b="0" i="1" smtClean="0">
                              <a:solidFill>
                                <a:srgbClr val="245473"/>
                              </a:solidFill>
                              <a:latin typeface="Cambria Math" panose="02040503050406030204" pitchFamily="18" charset="0"/>
                            </a:rPr>
                            <m:t>𝐶𝑟𝑒𝑑𝑖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𝑢𝑟𝑐h𝑎𝑠𝑒𝑠</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panose="02040503050406030204" pitchFamily="18" charset="0"/>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13" name="Textfeld 12">
                <a:extLst>
                  <a:ext uri="{FF2B5EF4-FFF2-40B4-BE49-F238E27FC236}">
                    <a16:creationId xmlns:a16="http://schemas.microsoft.com/office/drawing/2014/main" id="{395C971B-5CB3-49E9-B427-ED6C0B7A50F1}"/>
                  </a:ext>
                </a:extLst>
              </p:cNvPr>
              <p:cNvSpPr txBox="1">
                <a:spLocks noRot="1" noChangeAspect="1" noMove="1" noResize="1" noEditPoints="1" noAdjustHandles="1" noChangeArrowheads="1" noChangeShapeType="1" noTextEdit="1"/>
              </p:cNvSpPr>
              <p:nvPr/>
            </p:nvSpPr>
            <p:spPr>
              <a:xfrm>
                <a:off x="4082294" y="3831440"/>
                <a:ext cx="7390035" cy="527580"/>
              </a:xfrm>
              <a:prstGeom prst="rect">
                <a:avLst/>
              </a:prstGeom>
              <a:blipFill>
                <a:blip r:embed="rId7"/>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1105705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97819" y="619983"/>
            <a:ext cx="8852375" cy="697353"/>
          </a:xfrm>
        </p:spPr>
        <p:txBody>
          <a:bodyPr>
            <a:normAutofit fontScale="92500"/>
          </a:bodyPr>
          <a:lstStyle/>
          <a:p>
            <a:r>
              <a:rPr lang="en-GB" dirty="0"/>
              <a:t>Exemplary financial measures: Sale and Lease Back</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13225" y="1798107"/>
            <a:ext cx="4046068"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600" dirty="0">
                <a:solidFill>
                  <a:srgbClr val="245473"/>
                </a:solidFill>
                <a:latin typeface="+mj-lt"/>
              </a:rPr>
              <a:t>Lease-back, sale-lease-back and sale-and-rent-back are synonymous terms for a special form of leasing in which an organization sells an asset (property, machinery or vehicle, but also intangible assets such as brands or patents) to a leasing company and simultaneously leases them back for further use.</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One-off liquidity effect / realization of hidden reserves</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Long-term liquidity burden from lease payments</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Much more difficult with used goods than together with acquisition of new goods (manufacturer leasing)</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Object value consideration instead of company assessment (at least in the starting point "Creditworthiness of the object")</a:t>
            </a:r>
          </a:p>
        </p:txBody>
      </p:sp>
      <p:grpSp>
        <p:nvGrpSpPr>
          <p:cNvPr id="4" name="Gruppieren 3">
            <a:extLst>
              <a:ext uri="{FF2B5EF4-FFF2-40B4-BE49-F238E27FC236}">
                <a16:creationId xmlns:a16="http://schemas.microsoft.com/office/drawing/2014/main" id="{B7113CFC-50D6-4771-8929-B4768E5FF974}"/>
              </a:ext>
            </a:extLst>
          </p:cNvPr>
          <p:cNvGrpSpPr/>
          <p:nvPr/>
        </p:nvGrpSpPr>
        <p:grpSpPr>
          <a:xfrm rot="16200000">
            <a:off x="5752155" y="3537890"/>
            <a:ext cx="966322" cy="860359"/>
            <a:chOff x="2290684" y="1670769"/>
            <a:chExt cx="1808891" cy="1606818"/>
          </a:xfrm>
        </p:grpSpPr>
        <p:sp>
          <p:nvSpPr>
            <p:cNvPr id="36" name="Rounded Rectangle 60">
              <a:extLst>
                <a:ext uri="{FF2B5EF4-FFF2-40B4-BE49-F238E27FC236}">
                  <a16:creationId xmlns:a16="http://schemas.microsoft.com/office/drawing/2014/main" id="{A42F091A-733A-44EE-A253-C9D37022F2D1}"/>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7" name="Rounded Rectangle 63">
              <a:extLst>
                <a:ext uri="{FF2B5EF4-FFF2-40B4-BE49-F238E27FC236}">
                  <a16:creationId xmlns:a16="http://schemas.microsoft.com/office/drawing/2014/main" id="{240C0B9A-23D5-4EAF-907B-0F07ABAEB8B2}"/>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8" name="Rounded Rectangle 62">
              <a:extLst>
                <a:ext uri="{FF2B5EF4-FFF2-40B4-BE49-F238E27FC236}">
                  <a16:creationId xmlns:a16="http://schemas.microsoft.com/office/drawing/2014/main" id="{3B6275D4-A8D3-437E-96C5-69CD38D59340}"/>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grpSp>
        <p:nvGrpSpPr>
          <p:cNvPr id="48" name="Gruppieren 47">
            <a:extLst>
              <a:ext uri="{FF2B5EF4-FFF2-40B4-BE49-F238E27FC236}">
                <a16:creationId xmlns:a16="http://schemas.microsoft.com/office/drawing/2014/main" id="{47EC9967-B83B-42C3-82FA-4159B4C4D903}"/>
              </a:ext>
            </a:extLst>
          </p:cNvPr>
          <p:cNvGrpSpPr/>
          <p:nvPr/>
        </p:nvGrpSpPr>
        <p:grpSpPr>
          <a:xfrm rot="5400000">
            <a:off x="5170557" y="3537891"/>
            <a:ext cx="966322" cy="860359"/>
            <a:chOff x="2290684" y="3390989"/>
            <a:chExt cx="1808891" cy="1606818"/>
          </a:xfrm>
        </p:grpSpPr>
        <p:sp>
          <p:nvSpPr>
            <p:cNvPr id="39" name="Rounded Rectangle 70">
              <a:extLst>
                <a:ext uri="{FF2B5EF4-FFF2-40B4-BE49-F238E27FC236}">
                  <a16:creationId xmlns:a16="http://schemas.microsoft.com/office/drawing/2014/main" id="{AB451E66-22AE-46B0-AA03-6F1057D6934B}"/>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0" name="Rounded Rectangle 71">
              <a:extLst>
                <a:ext uri="{FF2B5EF4-FFF2-40B4-BE49-F238E27FC236}">
                  <a16:creationId xmlns:a16="http://schemas.microsoft.com/office/drawing/2014/main" id="{B485BA47-4328-41A5-974F-98AD4285FF3D}"/>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1" name="Rounded Rectangle 72">
              <a:extLst>
                <a:ext uri="{FF2B5EF4-FFF2-40B4-BE49-F238E27FC236}">
                  <a16:creationId xmlns:a16="http://schemas.microsoft.com/office/drawing/2014/main" id="{FC85B1C7-8099-486E-8053-DE7F341709C2}"/>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grpSp>
        <p:nvGrpSpPr>
          <p:cNvPr id="13" name="Gruppieren 12">
            <a:extLst>
              <a:ext uri="{FF2B5EF4-FFF2-40B4-BE49-F238E27FC236}">
                <a16:creationId xmlns:a16="http://schemas.microsoft.com/office/drawing/2014/main" id="{9544CCB5-5F3F-48C0-9C60-FC8398C0F81E}"/>
              </a:ext>
            </a:extLst>
          </p:cNvPr>
          <p:cNvGrpSpPr/>
          <p:nvPr/>
        </p:nvGrpSpPr>
        <p:grpSpPr>
          <a:xfrm rot="16200000">
            <a:off x="9258414" y="3532890"/>
            <a:ext cx="966322" cy="860358"/>
            <a:chOff x="3772626" y="2531562"/>
            <a:chExt cx="1808891" cy="1606817"/>
          </a:xfrm>
        </p:grpSpPr>
        <p:sp>
          <p:nvSpPr>
            <p:cNvPr id="42" name="Rounded Rectangle 74">
              <a:extLst>
                <a:ext uri="{FF2B5EF4-FFF2-40B4-BE49-F238E27FC236}">
                  <a16:creationId xmlns:a16="http://schemas.microsoft.com/office/drawing/2014/main" id="{7D7FCF3B-1C04-4EA8-A596-80EEF8F68486}"/>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Rounded Rectangle 75">
              <a:extLst>
                <a:ext uri="{FF2B5EF4-FFF2-40B4-BE49-F238E27FC236}">
                  <a16:creationId xmlns:a16="http://schemas.microsoft.com/office/drawing/2014/main" id="{503A7FFA-634F-4460-93F6-3987C22ABC5A}"/>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4" name="Rounded Rectangle 76">
              <a:extLst>
                <a:ext uri="{FF2B5EF4-FFF2-40B4-BE49-F238E27FC236}">
                  <a16:creationId xmlns:a16="http://schemas.microsoft.com/office/drawing/2014/main" id="{5A66564E-7962-42DD-B888-D729D3B2F719}"/>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grpSp>
        <p:nvGrpSpPr>
          <p:cNvPr id="49" name="Gruppieren 48">
            <a:extLst>
              <a:ext uri="{FF2B5EF4-FFF2-40B4-BE49-F238E27FC236}">
                <a16:creationId xmlns:a16="http://schemas.microsoft.com/office/drawing/2014/main" id="{2F487212-340D-4CF0-B44E-4145DD561C41}"/>
              </a:ext>
            </a:extLst>
          </p:cNvPr>
          <p:cNvGrpSpPr/>
          <p:nvPr/>
        </p:nvGrpSpPr>
        <p:grpSpPr>
          <a:xfrm rot="5400000">
            <a:off x="8725432" y="3532888"/>
            <a:ext cx="966322" cy="860359"/>
            <a:chOff x="3749667" y="4263234"/>
            <a:chExt cx="1808891" cy="1606818"/>
          </a:xfrm>
        </p:grpSpPr>
        <p:sp>
          <p:nvSpPr>
            <p:cNvPr id="45" name="Rounded Rectangle 78">
              <a:extLst>
                <a:ext uri="{FF2B5EF4-FFF2-40B4-BE49-F238E27FC236}">
                  <a16:creationId xmlns:a16="http://schemas.microsoft.com/office/drawing/2014/main" id="{FDB31B0F-FB78-47DC-ACC8-2E783ED8999D}"/>
                </a:ext>
              </a:extLst>
            </p:cNvPr>
            <p:cNvSpPr/>
            <p:nvPr/>
          </p:nvSpPr>
          <p:spPr>
            <a:xfrm rot="10800000">
              <a:off x="3749667" y="4836366"/>
              <a:ext cx="1808891"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6" name="Rounded Rectangle 79">
              <a:extLst>
                <a:ext uri="{FF2B5EF4-FFF2-40B4-BE49-F238E27FC236}">
                  <a16:creationId xmlns:a16="http://schemas.microsoft.com/office/drawing/2014/main" id="{3F4B8CBF-889C-4678-AD7F-FE0DE261FE67}"/>
                </a:ext>
              </a:extLst>
            </p:cNvPr>
            <p:cNvSpPr/>
            <p:nvPr/>
          </p:nvSpPr>
          <p:spPr>
            <a:xfrm rot="8093649">
              <a:off x="3642680" y="4596976"/>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7" name="Rounded Rectangle 80">
              <a:extLst>
                <a:ext uri="{FF2B5EF4-FFF2-40B4-BE49-F238E27FC236}">
                  <a16:creationId xmlns:a16="http://schemas.microsoft.com/office/drawing/2014/main" id="{3FDEBEE2-13A9-4881-9A10-2FA426100107}"/>
                </a:ext>
              </a:extLst>
            </p:cNvPr>
            <p:cNvSpPr/>
            <p:nvPr/>
          </p:nvSpPr>
          <p:spPr>
            <a:xfrm rot="13517866">
              <a:off x="3641883" y="5079312"/>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sp>
        <p:nvSpPr>
          <p:cNvPr id="51" name="TextBox 99">
            <a:extLst>
              <a:ext uri="{FF2B5EF4-FFF2-40B4-BE49-F238E27FC236}">
                <a16:creationId xmlns:a16="http://schemas.microsoft.com/office/drawing/2014/main" id="{0E43B186-B2EB-4085-B18C-52389F54BE89}"/>
              </a:ext>
            </a:extLst>
          </p:cNvPr>
          <p:cNvSpPr txBox="1"/>
          <p:nvPr/>
        </p:nvSpPr>
        <p:spPr>
          <a:xfrm>
            <a:off x="9944721" y="3424154"/>
            <a:ext cx="2309671" cy="530915"/>
          </a:xfrm>
          <a:prstGeom prst="rect">
            <a:avLst/>
          </a:prstGeom>
          <a:noFill/>
        </p:spPr>
        <p:txBody>
          <a:bodyPr wrap="none" rtlCol="0" anchor="ctr" anchorCtr="0">
            <a:spAutoFit/>
          </a:bodyPr>
          <a:lstStyle/>
          <a:p>
            <a:r>
              <a:rPr lang="en-GB" sz="1425" b="1" spc="113">
                <a:solidFill>
                  <a:srgbClr val="C7621B"/>
                </a:solidFill>
                <a:latin typeface="+mj-lt"/>
                <a:ea typeface="League Spartan" charset="0"/>
                <a:cs typeface="Poppins" pitchFamily="2" charset="77"/>
              </a:rPr>
              <a:t>Pays leasing instalments </a:t>
            </a:r>
            <a:br>
              <a:rPr lang="en-GB" sz="1425" b="1" spc="113">
                <a:solidFill>
                  <a:srgbClr val="C7621B"/>
                </a:solidFill>
                <a:latin typeface="+mj-lt"/>
                <a:ea typeface="League Spartan" charset="0"/>
                <a:cs typeface="Poppins" pitchFamily="2" charset="77"/>
              </a:rPr>
            </a:br>
            <a:r>
              <a:rPr lang="en-GB" sz="1425" b="1" spc="113">
                <a:solidFill>
                  <a:srgbClr val="C7621B"/>
                </a:solidFill>
                <a:latin typeface="+mj-lt"/>
                <a:ea typeface="League Spartan" charset="0"/>
                <a:cs typeface="Poppins" pitchFamily="2" charset="77"/>
              </a:rPr>
              <a:t>over the contract period</a:t>
            </a:r>
            <a:endParaRPr lang="en-GB" sz="1425" b="1" spc="113" dirty="0">
              <a:solidFill>
                <a:srgbClr val="C7621B"/>
              </a:solidFill>
              <a:latin typeface="+mj-lt"/>
              <a:ea typeface="League Spartan" charset="0"/>
              <a:cs typeface="Poppins" pitchFamily="2" charset="77"/>
            </a:endParaRPr>
          </a:p>
        </p:txBody>
      </p:sp>
      <p:sp>
        <p:nvSpPr>
          <p:cNvPr id="52" name="TextBox 99">
            <a:extLst>
              <a:ext uri="{FF2B5EF4-FFF2-40B4-BE49-F238E27FC236}">
                <a16:creationId xmlns:a16="http://schemas.microsoft.com/office/drawing/2014/main" id="{7B4249D3-375B-4919-8085-2A85BC07D596}"/>
              </a:ext>
            </a:extLst>
          </p:cNvPr>
          <p:cNvSpPr txBox="1"/>
          <p:nvPr/>
        </p:nvSpPr>
        <p:spPr>
          <a:xfrm>
            <a:off x="7396991" y="3937571"/>
            <a:ext cx="1690206" cy="530915"/>
          </a:xfrm>
          <a:prstGeom prst="rect">
            <a:avLst/>
          </a:prstGeom>
          <a:noFill/>
        </p:spPr>
        <p:txBody>
          <a:bodyPr wrap="none" rtlCol="0" anchor="ctr" anchorCtr="0">
            <a:spAutoFit/>
          </a:bodyPr>
          <a:lstStyle/>
          <a:p>
            <a:pPr algn="r"/>
            <a:r>
              <a:rPr lang="en-GB" sz="1425" b="1" spc="113">
                <a:solidFill>
                  <a:srgbClr val="C1950B"/>
                </a:solidFill>
                <a:latin typeface="+mj-lt"/>
                <a:ea typeface="League Spartan" charset="0"/>
                <a:cs typeface="Poppins" pitchFamily="2" charset="77"/>
              </a:rPr>
              <a:t>Leases machinery</a:t>
            </a:r>
            <a:br>
              <a:rPr lang="en-GB" sz="1425" b="1" spc="113">
                <a:solidFill>
                  <a:srgbClr val="C1950B"/>
                </a:solidFill>
                <a:latin typeface="+mj-lt"/>
                <a:ea typeface="League Spartan" charset="0"/>
                <a:cs typeface="Poppins" pitchFamily="2" charset="77"/>
              </a:rPr>
            </a:br>
            <a:r>
              <a:rPr lang="en-GB" sz="1425" b="1" spc="113">
                <a:solidFill>
                  <a:srgbClr val="C1950B"/>
                </a:solidFill>
                <a:latin typeface="+mj-lt"/>
                <a:ea typeface="League Spartan" charset="0"/>
                <a:cs typeface="Poppins" pitchFamily="2" charset="77"/>
              </a:rPr>
              <a:t>or property back</a:t>
            </a:r>
            <a:endParaRPr lang="en-GB" sz="1425" b="1" spc="113" dirty="0">
              <a:solidFill>
                <a:srgbClr val="C1950B"/>
              </a:solidFill>
              <a:latin typeface="+mj-lt"/>
              <a:ea typeface="League Spartan" charset="0"/>
              <a:cs typeface="Poppins" pitchFamily="2" charset="77"/>
            </a:endParaRPr>
          </a:p>
        </p:txBody>
      </p:sp>
      <p:sp>
        <p:nvSpPr>
          <p:cNvPr id="53" name="TextBox 99">
            <a:extLst>
              <a:ext uri="{FF2B5EF4-FFF2-40B4-BE49-F238E27FC236}">
                <a16:creationId xmlns:a16="http://schemas.microsoft.com/office/drawing/2014/main" id="{F5391221-69CF-459C-82E9-C0A8DC7324FA}"/>
              </a:ext>
            </a:extLst>
          </p:cNvPr>
          <p:cNvSpPr txBox="1"/>
          <p:nvPr/>
        </p:nvSpPr>
        <p:spPr>
          <a:xfrm>
            <a:off x="6631852" y="3424155"/>
            <a:ext cx="1403141" cy="530915"/>
          </a:xfrm>
          <a:prstGeom prst="rect">
            <a:avLst/>
          </a:prstGeom>
          <a:noFill/>
        </p:spPr>
        <p:txBody>
          <a:bodyPr wrap="none" rtlCol="0" anchor="ctr" anchorCtr="0">
            <a:spAutoFit/>
          </a:bodyPr>
          <a:lstStyle/>
          <a:p>
            <a:r>
              <a:rPr lang="en-GB" sz="1425" b="1" spc="113">
                <a:solidFill>
                  <a:srgbClr val="395C9B"/>
                </a:solidFill>
                <a:latin typeface="+mj-lt"/>
                <a:ea typeface="League Spartan" charset="0"/>
                <a:cs typeface="Poppins" pitchFamily="2" charset="77"/>
              </a:rPr>
              <a:t>Receives cash</a:t>
            </a:r>
            <a:br>
              <a:rPr lang="en-GB" sz="1425" b="1" spc="113">
                <a:solidFill>
                  <a:srgbClr val="395C9B"/>
                </a:solidFill>
                <a:latin typeface="+mj-lt"/>
                <a:ea typeface="League Spartan" charset="0"/>
                <a:cs typeface="Poppins" pitchFamily="2" charset="77"/>
              </a:rPr>
            </a:br>
            <a:r>
              <a:rPr lang="en-GB" sz="1425" b="1" spc="113">
                <a:solidFill>
                  <a:srgbClr val="395C9B"/>
                </a:solidFill>
                <a:latin typeface="+mj-lt"/>
                <a:ea typeface="League Spartan" charset="0"/>
                <a:cs typeface="Poppins" pitchFamily="2" charset="77"/>
              </a:rPr>
              <a:t>payment</a:t>
            </a:r>
            <a:endParaRPr lang="en-GB" sz="1425" b="1" spc="113" dirty="0">
              <a:solidFill>
                <a:srgbClr val="395C9B"/>
              </a:solidFill>
              <a:latin typeface="+mj-lt"/>
              <a:ea typeface="League Spartan" charset="0"/>
              <a:cs typeface="Poppins" pitchFamily="2" charset="77"/>
            </a:endParaRPr>
          </a:p>
        </p:txBody>
      </p:sp>
      <p:sp>
        <p:nvSpPr>
          <p:cNvPr id="54" name="TextBox 99">
            <a:extLst>
              <a:ext uri="{FF2B5EF4-FFF2-40B4-BE49-F238E27FC236}">
                <a16:creationId xmlns:a16="http://schemas.microsoft.com/office/drawing/2014/main" id="{FE40F179-6849-4803-A3A9-D604F29FCCA9}"/>
              </a:ext>
            </a:extLst>
          </p:cNvPr>
          <p:cNvSpPr txBox="1"/>
          <p:nvPr/>
        </p:nvSpPr>
        <p:spPr>
          <a:xfrm>
            <a:off x="4013524" y="3457222"/>
            <a:ext cx="1520223" cy="530915"/>
          </a:xfrm>
          <a:prstGeom prst="rect">
            <a:avLst/>
          </a:prstGeom>
          <a:noFill/>
        </p:spPr>
        <p:txBody>
          <a:bodyPr wrap="none" rtlCol="0" anchor="ctr" anchorCtr="0">
            <a:spAutoFit/>
          </a:bodyPr>
          <a:lstStyle/>
          <a:p>
            <a:pPr algn="r"/>
            <a:r>
              <a:rPr lang="en-GB" sz="1425" b="1" spc="113">
                <a:solidFill>
                  <a:srgbClr val="828282"/>
                </a:solidFill>
                <a:latin typeface="+mj-lt"/>
                <a:ea typeface="League Spartan" charset="0"/>
                <a:cs typeface="Poppins" pitchFamily="2" charset="77"/>
              </a:rPr>
              <a:t>Sells machinery</a:t>
            </a:r>
            <a:br>
              <a:rPr lang="en-GB" sz="1425" b="1" spc="113">
                <a:solidFill>
                  <a:srgbClr val="828282"/>
                </a:solidFill>
                <a:latin typeface="+mj-lt"/>
                <a:ea typeface="League Spartan" charset="0"/>
                <a:cs typeface="Poppins" pitchFamily="2" charset="77"/>
              </a:rPr>
            </a:br>
            <a:r>
              <a:rPr lang="en-GB" sz="1425" b="1" spc="113">
                <a:solidFill>
                  <a:srgbClr val="828282"/>
                </a:solidFill>
                <a:latin typeface="+mj-lt"/>
                <a:ea typeface="League Spartan" charset="0"/>
                <a:cs typeface="Poppins" pitchFamily="2" charset="77"/>
              </a:rPr>
              <a:t> or property</a:t>
            </a:r>
            <a:endParaRPr lang="en-GB" sz="1425" b="1" spc="113" dirty="0">
              <a:solidFill>
                <a:srgbClr val="828282"/>
              </a:solidFill>
              <a:latin typeface="+mj-lt"/>
              <a:ea typeface="League Spartan" charset="0"/>
              <a:cs typeface="Poppins" pitchFamily="2" charset="77"/>
            </a:endParaRPr>
          </a:p>
        </p:txBody>
      </p:sp>
      <p:sp>
        <p:nvSpPr>
          <p:cNvPr id="55" name="Rechteck 54">
            <a:extLst>
              <a:ext uri="{FF2B5EF4-FFF2-40B4-BE49-F238E27FC236}">
                <a16:creationId xmlns:a16="http://schemas.microsoft.com/office/drawing/2014/main" id="{A457F789-2FFF-40C5-8D0D-465BB56C23DD}"/>
              </a:ext>
            </a:extLst>
          </p:cNvPr>
          <p:cNvSpPr/>
          <p:nvPr/>
        </p:nvSpPr>
        <p:spPr>
          <a:xfrm>
            <a:off x="5225166" y="2279859"/>
            <a:ext cx="4945379" cy="597049"/>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t>Company</a:t>
            </a:r>
          </a:p>
        </p:txBody>
      </p:sp>
      <p:sp>
        <p:nvSpPr>
          <p:cNvPr id="56" name="Rechteck 55">
            <a:extLst>
              <a:ext uri="{FF2B5EF4-FFF2-40B4-BE49-F238E27FC236}">
                <a16:creationId xmlns:a16="http://schemas.microsoft.com/office/drawing/2014/main" id="{EDDECBE0-55F0-47A4-840A-EFFF7DBEC60A}"/>
              </a:ext>
            </a:extLst>
          </p:cNvPr>
          <p:cNvSpPr/>
          <p:nvPr/>
        </p:nvSpPr>
        <p:spPr>
          <a:xfrm>
            <a:off x="5225167" y="5015306"/>
            <a:ext cx="4945379" cy="597049"/>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Sale and Lease Back Organization</a:t>
            </a:r>
          </a:p>
        </p:txBody>
      </p:sp>
    </p:spTree>
    <p:extLst>
      <p:ext uri="{BB962C8B-B14F-4D97-AF65-F5344CB8AC3E}">
        <p14:creationId xmlns:p14="http://schemas.microsoft.com/office/powerpoint/2010/main" val="522226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57003" y="547647"/>
            <a:ext cx="8852375" cy="697353"/>
          </a:xfrm>
        </p:spPr>
        <p:txBody>
          <a:bodyPr>
            <a:normAutofit/>
          </a:bodyPr>
          <a:lstStyle/>
          <a:p>
            <a:r>
              <a:rPr lang="en-GB"/>
              <a:t>Exemplary financial measures: Factoring</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52169" y="2122764"/>
            <a:ext cx="4368753" cy="43758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Factoring is a method of sales financing in which the supplier sells its receivables from the delivery of goods to a financial institution.</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sym typeface="Wingdings" panose="05000000000000000000" pitchFamily="2" charset="2"/>
              </a:rPr>
              <a:t>Sale of receivables with transfer of the credit risk (genuine factoring)</a:t>
            </a:r>
            <a:br>
              <a:rPr lang="en-GB" sz="2200" dirty="0">
                <a:solidFill>
                  <a:srgbClr val="245473"/>
                </a:solidFill>
                <a:latin typeface="+mj-lt"/>
                <a:sym typeface="Wingdings" panose="05000000000000000000" pitchFamily="2" charset="2"/>
              </a:rPr>
            </a:br>
            <a:br>
              <a:rPr lang="en-GB" sz="2200" dirty="0">
                <a:solidFill>
                  <a:srgbClr val="245473"/>
                </a:solidFill>
                <a:latin typeface="+mj-lt"/>
                <a:sym typeface="Wingdings" panose="05000000000000000000" pitchFamily="2" charset="2"/>
              </a:rPr>
            </a:br>
            <a:r>
              <a:rPr lang="en-GB" sz="2200" dirty="0">
                <a:solidFill>
                  <a:srgbClr val="245473"/>
                </a:solidFill>
                <a:latin typeface="+mj-lt"/>
                <a:sym typeface="Wingdings" panose="05000000000000000000" pitchFamily="2" charset="2"/>
              </a:rPr>
              <a:t>or</a:t>
            </a:r>
            <a:br>
              <a:rPr lang="en-GB" sz="2200" dirty="0">
                <a:solidFill>
                  <a:srgbClr val="245473"/>
                </a:solidFill>
                <a:latin typeface="+mj-lt"/>
                <a:sym typeface="Wingdings" panose="05000000000000000000" pitchFamily="2" charset="2"/>
              </a:rPr>
            </a:br>
            <a:endParaRPr lang="en-GB" sz="2200" dirty="0">
              <a:solidFill>
                <a:srgbClr val="245473"/>
              </a:solidFill>
              <a:latin typeface="+mj-lt"/>
              <a:sym typeface="Wingdings" panose="05000000000000000000" pitchFamily="2" charset="2"/>
            </a:endParaRP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sym typeface="Wingdings" panose="05000000000000000000" pitchFamily="2" charset="2"/>
              </a:rPr>
              <a:t>without transfer of the credit risk (fake factoring)</a:t>
            </a:r>
          </a:p>
          <a:p>
            <a:pPr algn="l">
              <a:lnSpc>
                <a:spcPct val="100000"/>
              </a:lnSpc>
              <a:spcBef>
                <a:spcPts val="600"/>
              </a:spcBef>
            </a:pPr>
            <a:endParaRPr lang="en-GB" sz="2200" dirty="0">
              <a:latin typeface="+mj-lt"/>
              <a:sym typeface="Wingdings" panose="05000000000000000000" pitchFamily="2" charset="2"/>
            </a:endParaRPr>
          </a:p>
        </p:txBody>
      </p:sp>
      <p:grpSp>
        <p:nvGrpSpPr>
          <p:cNvPr id="5" name="Gruppieren 4">
            <a:extLst>
              <a:ext uri="{FF2B5EF4-FFF2-40B4-BE49-F238E27FC236}">
                <a16:creationId xmlns:a16="http://schemas.microsoft.com/office/drawing/2014/main" id="{EC268B96-03AD-4D8B-ADA0-DF27D878A2B9}"/>
              </a:ext>
            </a:extLst>
          </p:cNvPr>
          <p:cNvGrpSpPr>
            <a:grpSpLocks noChangeAspect="1"/>
          </p:cNvGrpSpPr>
          <p:nvPr/>
        </p:nvGrpSpPr>
        <p:grpSpPr>
          <a:xfrm>
            <a:off x="5588686" y="2022693"/>
            <a:ext cx="4135032" cy="3782223"/>
            <a:chOff x="5781897" y="2420011"/>
            <a:chExt cx="3264914" cy="2986345"/>
          </a:xfrm>
        </p:grpSpPr>
        <p:sp>
          <p:nvSpPr>
            <p:cNvPr id="27" name="Freeform: Shape 6624">
              <a:extLst>
                <a:ext uri="{FF2B5EF4-FFF2-40B4-BE49-F238E27FC236}">
                  <a16:creationId xmlns:a16="http://schemas.microsoft.com/office/drawing/2014/main" id="{9412888F-5B30-4812-B44A-F43DE173F256}"/>
                </a:ext>
              </a:extLst>
            </p:cNvPr>
            <p:cNvSpPr/>
            <p:nvPr/>
          </p:nvSpPr>
          <p:spPr>
            <a:xfrm>
              <a:off x="6182040" y="3798688"/>
              <a:ext cx="1499075" cy="1455397"/>
            </a:xfrm>
            <a:custGeom>
              <a:avLst/>
              <a:gdLst/>
              <a:ahLst/>
              <a:cxnLst>
                <a:cxn ang="3cd4">
                  <a:pos x="hc" y="t"/>
                </a:cxn>
                <a:cxn ang="cd2">
                  <a:pos x="l" y="vc"/>
                </a:cxn>
                <a:cxn ang="cd4">
                  <a:pos x="hc" y="b"/>
                </a:cxn>
                <a:cxn ang="0">
                  <a:pos x="r" y="vc"/>
                </a:cxn>
              </a:cxnLst>
              <a:rect l="l" t="t" r="r" b="b"/>
              <a:pathLst>
                <a:path w="1271" h="1234">
                  <a:moveTo>
                    <a:pt x="1050" y="785"/>
                  </a:moveTo>
                  <a:cubicBezTo>
                    <a:pt x="804" y="785"/>
                    <a:pt x="605" y="586"/>
                    <a:pt x="605" y="341"/>
                  </a:cubicBezTo>
                  <a:cubicBezTo>
                    <a:pt x="605" y="204"/>
                    <a:pt x="667" y="82"/>
                    <a:pt x="764" y="0"/>
                  </a:cubicBezTo>
                  <a:lnTo>
                    <a:pt x="0" y="441"/>
                  </a:lnTo>
                  <a:cubicBezTo>
                    <a:pt x="206" y="348"/>
                    <a:pt x="452" y="425"/>
                    <a:pt x="567" y="625"/>
                  </a:cubicBezTo>
                  <a:cubicBezTo>
                    <a:pt x="690" y="837"/>
                    <a:pt x="617" y="1109"/>
                    <a:pt x="405" y="1232"/>
                  </a:cubicBezTo>
                  <a:lnTo>
                    <a:pt x="405" y="1234"/>
                  </a:lnTo>
                  <a:lnTo>
                    <a:pt x="1271" y="727"/>
                  </a:lnTo>
                  <a:cubicBezTo>
                    <a:pt x="1206" y="764"/>
                    <a:pt x="1130" y="785"/>
                    <a:pt x="1050" y="785"/>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28" name="Freeform: Shape 6625">
              <a:extLst>
                <a:ext uri="{FF2B5EF4-FFF2-40B4-BE49-F238E27FC236}">
                  <a16:creationId xmlns:a16="http://schemas.microsoft.com/office/drawing/2014/main" id="{265CCCDF-1648-4C27-880F-663467B8E765}"/>
                </a:ext>
              </a:extLst>
            </p:cNvPr>
            <p:cNvSpPr/>
            <p:nvPr/>
          </p:nvSpPr>
          <p:spPr>
            <a:xfrm>
              <a:off x="6894988" y="2513735"/>
              <a:ext cx="1048172" cy="1048172"/>
            </a:xfrm>
            <a:custGeom>
              <a:avLst/>
              <a:gdLst/>
              <a:ahLst/>
              <a:cxnLst>
                <a:cxn ang="3cd4">
                  <a:pos x="hc" y="t"/>
                </a:cxn>
                <a:cxn ang="cd2">
                  <a:pos x="l" y="vc"/>
                </a:cxn>
                <a:cxn ang="cd4">
                  <a:pos x="hc" y="b"/>
                </a:cxn>
                <a:cxn ang="0">
                  <a:pos x="r" y="vc"/>
                </a:cxn>
              </a:cxnLst>
              <a:rect l="l" t="t" r="r" b="b"/>
              <a:pathLst>
                <a:path w="889" h="889">
                  <a:moveTo>
                    <a:pt x="445" y="806"/>
                  </a:moveTo>
                  <a:cubicBezTo>
                    <a:pt x="245" y="806"/>
                    <a:pt x="83" y="644"/>
                    <a:pt x="83" y="444"/>
                  </a:cubicBezTo>
                  <a:cubicBezTo>
                    <a:pt x="83" y="245"/>
                    <a:pt x="245" y="83"/>
                    <a:pt x="445" y="83"/>
                  </a:cubicBezTo>
                  <a:cubicBezTo>
                    <a:pt x="644" y="83"/>
                    <a:pt x="806" y="245"/>
                    <a:pt x="806" y="444"/>
                  </a:cubicBezTo>
                  <a:cubicBezTo>
                    <a:pt x="806" y="644"/>
                    <a:pt x="644" y="806"/>
                    <a:pt x="445" y="806"/>
                  </a:cubicBezTo>
                  <a:close/>
                  <a:moveTo>
                    <a:pt x="445" y="0"/>
                  </a:moveTo>
                  <a:cubicBezTo>
                    <a:pt x="199" y="0"/>
                    <a:pt x="0" y="199"/>
                    <a:pt x="0" y="444"/>
                  </a:cubicBezTo>
                  <a:cubicBezTo>
                    <a:pt x="0" y="690"/>
                    <a:pt x="199" y="889"/>
                    <a:pt x="445" y="889"/>
                  </a:cubicBezTo>
                  <a:cubicBezTo>
                    <a:pt x="690" y="889"/>
                    <a:pt x="889" y="690"/>
                    <a:pt x="889" y="444"/>
                  </a:cubicBezTo>
                  <a:cubicBezTo>
                    <a:pt x="889" y="199"/>
                    <a:pt x="690" y="0"/>
                    <a:pt x="445" y="0"/>
                  </a:cubicBez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29" name="Freeform: Shape 6626">
              <a:extLst>
                <a:ext uri="{FF2B5EF4-FFF2-40B4-BE49-F238E27FC236}">
                  <a16:creationId xmlns:a16="http://schemas.microsoft.com/office/drawing/2014/main" id="{76E32BB4-B0B3-492B-9D79-EA90E32CC434}"/>
                </a:ext>
              </a:extLst>
            </p:cNvPr>
            <p:cNvSpPr/>
            <p:nvPr/>
          </p:nvSpPr>
          <p:spPr>
            <a:xfrm>
              <a:off x="6992959" y="2606509"/>
              <a:ext cx="852230" cy="852230"/>
            </a:xfrm>
            <a:custGeom>
              <a:avLst/>
              <a:gdLst/>
              <a:ahLst/>
              <a:cxnLst>
                <a:cxn ang="3cd4">
                  <a:pos x="hc" y="t"/>
                </a:cxn>
                <a:cxn ang="cd2">
                  <a:pos x="l" y="vc"/>
                </a:cxn>
                <a:cxn ang="cd4">
                  <a:pos x="hc" y="b"/>
                </a:cxn>
                <a:cxn ang="0">
                  <a:pos x="r" y="vc"/>
                </a:cxn>
              </a:cxnLst>
              <a:rect l="l" t="t" r="r" b="b"/>
              <a:pathLst>
                <a:path w="723" h="723">
                  <a:moveTo>
                    <a:pt x="0" y="361"/>
                  </a:moveTo>
                  <a:cubicBezTo>
                    <a:pt x="0" y="162"/>
                    <a:pt x="162" y="0"/>
                    <a:pt x="362" y="0"/>
                  </a:cubicBezTo>
                  <a:cubicBezTo>
                    <a:pt x="561" y="0"/>
                    <a:pt x="723" y="162"/>
                    <a:pt x="723" y="361"/>
                  </a:cubicBezTo>
                  <a:cubicBezTo>
                    <a:pt x="723" y="561"/>
                    <a:pt x="561" y="723"/>
                    <a:pt x="362" y="723"/>
                  </a:cubicBezTo>
                  <a:cubicBezTo>
                    <a:pt x="162" y="723"/>
                    <a:pt x="0" y="561"/>
                    <a:pt x="0" y="361"/>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0" name="Freeform: Shape 6644">
              <a:extLst>
                <a:ext uri="{FF2B5EF4-FFF2-40B4-BE49-F238E27FC236}">
                  <a16:creationId xmlns:a16="http://schemas.microsoft.com/office/drawing/2014/main" id="{AB68CA9D-2E88-4064-9656-184DB7484900}"/>
                </a:ext>
              </a:extLst>
            </p:cNvPr>
            <p:cNvSpPr/>
            <p:nvPr/>
          </p:nvSpPr>
          <p:spPr>
            <a:xfrm>
              <a:off x="7908929" y="4274374"/>
              <a:ext cx="1048172" cy="1048172"/>
            </a:xfrm>
            <a:custGeom>
              <a:avLst/>
              <a:gdLst/>
              <a:ahLst/>
              <a:cxnLst>
                <a:cxn ang="3cd4">
                  <a:pos x="hc" y="t"/>
                </a:cxn>
                <a:cxn ang="cd2">
                  <a:pos x="l" y="vc"/>
                </a:cxn>
                <a:cxn ang="cd4">
                  <a:pos x="hc" y="b"/>
                </a:cxn>
                <a:cxn ang="0">
                  <a:pos x="r" y="vc"/>
                </a:cxn>
              </a:cxnLst>
              <a:rect l="l" t="t" r="r" b="b"/>
              <a:pathLst>
                <a:path w="889" h="889">
                  <a:moveTo>
                    <a:pt x="758" y="626"/>
                  </a:moveTo>
                  <a:cubicBezTo>
                    <a:pt x="658" y="799"/>
                    <a:pt x="437" y="858"/>
                    <a:pt x="264" y="758"/>
                  </a:cubicBezTo>
                  <a:cubicBezTo>
                    <a:pt x="91" y="658"/>
                    <a:pt x="32" y="437"/>
                    <a:pt x="131" y="264"/>
                  </a:cubicBezTo>
                  <a:cubicBezTo>
                    <a:pt x="232" y="91"/>
                    <a:pt x="452" y="32"/>
                    <a:pt x="625" y="132"/>
                  </a:cubicBezTo>
                  <a:cubicBezTo>
                    <a:pt x="799" y="232"/>
                    <a:pt x="858" y="453"/>
                    <a:pt x="758" y="626"/>
                  </a:cubicBezTo>
                  <a:close/>
                  <a:moveTo>
                    <a:pt x="667" y="60"/>
                  </a:moveTo>
                  <a:cubicBezTo>
                    <a:pt x="454" y="-63"/>
                    <a:pt x="182" y="10"/>
                    <a:pt x="60" y="223"/>
                  </a:cubicBezTo>
                  <a:cubicBezTo>
                    <a:pt x="-63" y="435"/>
                    <a:pt x="10" y="707"/>
                    <a:pt x="222" y="830"/>
                  </a:cubicBezTo>
                  <a:cubicBezTo>
                    <a:pt x="435" y="953"/>
                    <a:pt x="707" y="880"/>
                    <a:pt x="829" y="667"/>
                  </a:cubicBezTo>
                  <a:cubicBezTo>
                    <a:pt x="952" y="455"/>
                    <a:pt x="880" y="183"/>
                    <a:pt x="667" y="60"/>
                  </a:cubicBezTo>
                  <a:close/>
                </a:path>
              </a:pathLst>
            </a:custGeom>
            <a:solidFill>
              <a:schemeClr val="accent2">
                <a:lumMod val="75000"/>
              </a:schemeClr>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1" name="Freeform: Shape 6645">
              <a:extLst>
                <a:ext uri="{FF2B5EF4-FFF2-40B4-BE49-F238E27FC236}">
                  <a16:creationId xmlns:a16="http://schemas.microsoft.com/office/drawing/2014/main" id="{4D45E1C7-CE98-40DB-BF0C-BEF2B5CBFE54}"/>
                </a:ext>
              </a:extLst>
            </p:cNvPr>
            <p:cNvSpPr/>
            <p:nvPr/>
          </p:nvSpPr>
          <p:spPr>
            <a:xfrm>
              <a:off x="8005720" y="4372348"/>
              <a:ext cx="853410" cy="852230"/>
            </a:xfrm>
            <a:custGeom>
              <a:avLst/>
              <a:gdLst/>
              <a:ahLst/>
              <a:cxnLst>
                <a:cxn ang="3cd4">
                  <a:pos x="hc" y="t"/>
                </a:cxn>
                <a:cxn ang="cd2">
                  <a:pos x="l" y="vc"/>
                </a:cxn>
                <a:cxn ang="cd4">
                  <a:pos x="hc" y="b"/>
                </a:cxn>
                <a:cxn ang="0">
                  <a:pos x="r" y="vc"/>
                </a:cxn>
              </a:cxnLst>
              <a:rect l="l" t="t" r="r" b="b"/>
              <a:pathLst>
                <a:path w="724" h="723">
                  <a:moveTo>
                    <a:pt x="181" y="675"/>
                  </a:moveTo>
                  <a:cubicBezTo>
                    <a:pt x="8" y="575"/>
                    <a:pt x="-51" y="354"/>
                    <a:pt x="48" y="181"/>
                  </a:cubicBezTo>
                  <a:cubicBezTo>
                    <a:pt x="149" y="8"/>
                    <a:pt x="369" y="-51"/>
                    <a:pt x="542" y="49"/>
                  </a:cubicBezTo>
                  <a:cubicBezTo>
                    <a:pt x="716" y="149"/>
                    <a:pt x="775" y="370"/>
                    <a:pt x="675" y="543"/>
                  </a:cubicBezTo>
                  <a:cubicBezTo>
                    <a:pt x="575" y="716"/>
                    <a:pt x="354" y="775"/>
                    <a:pt x="181" y="675"/>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2" name="Freeform: Shape 6646">
              <a:extLst>
                <a:ext uri="{FF2B5EF4-FFF2-40B4-BE49-F238E27FC236}">
                  <a16:creationId xmlns:a16="http://schemas.microsoft.com/office/drawing/2014/main" id="{6518C653-664C-4247-BA19-FBF89FD95C05}"/>
                </a:ext>
              </a:extLst>
            </p:cNvPr>
            <p:cNvSpPr/>
            <p:nvPr/>
          </p:nvSpPr>
          <p:spPr>
            <a:xfrm>
              <a:off x="5969575" y="4372348"/>
              <a:ext cx="852230" cy="852230"/>
            </a:xfrm>
            <a:custGeom>
              <a:avLst/>
              <a:gdLst/>
              <a:ahLst/>
              <a:cxnLst>
                <a:cxn ang="3cd4">
                  <a:pos x="hc" y="t"/>
                </a:cxn>
                <a:cxn ang="cd2">
                  <a:pos x="l" y="vc"/>
                </a:cxn>
                <a:cxn ang="cd4">
                  <a:pos x="hc" y="b"/>
                </a:cxn>
                <a:cxn ang="0">
                  <a:pos x="r" y="vc"/>
                </a:cxn>
              </a:cxnLst>
              <a:rect l="l" t="t" r="r" b="b"/>
              <a:pathLst>
                <a:path w="723" h="723">
                  <a:moveTo>
                    <a:pt x="181" y="49"/>
                  </a:moveTo>
                  <a:cubicBezTo>
                    <a:pt x="354" y="-51"/>
                    <a:pt x="575" y="8"/>
                    <a:pt x="675" y="181"/>
                  </a:cubicBezTo>
                  <a:cubicBezTo>
                    <a:pt x="775" y="354"/>
                    <a:pt x="715" y="575"/>
                    <a:pt x="543" y="675"/>
                  </a:cubicBezTo>
                  <a:cubicBezTo>
                    <a:pt x="370" y="775"/>
                    <a:pt x="148" y="716"/>
                    <a:pt x="49" y="543"/>
                  </a:cubicBezTo>
                  <a:cubicBezTo>
                    <a:pt x="-51" y="370"/>
                    <a:pt x="8" y="149"/>
                    <a:pt x="181" y="49"/>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nvGrpSpPr>
            <p:cNvPr id="33" name="Group 367">
              <a:extLst>
                <a:ext uri="{FF2B5EF4-FFF2-40B4-BE49-F238E27FC236}">
                  <a16:creationId xmlns:a16="http://schemas.microsoft.com/office/drawing/2014/main" id="{23DDAF74-E6DD-4094-98C7-6C318A079396}"/>
                </a:ext>
              </a:extLst>
            </p:cNvPr>
            <p:cNvGrpSpPr/>
            <p:nvPr/>
          </p:nvGrpSpPr>
          <p:grpSpPr>
            <a:xfrm>
              <a:off x="5781897" y="4554126"/>
              <a:ext cx="550051" cy="852230"/>
              <a:chOff x="9497936" y="9385018"/>
              <a:chExt cx="1466421" cy="2272021"/>
            </a:xfrm>
            <a:solidFill>
              <a:schemeClr val="accent3">
                <a:lumMod val="75000"/>
              </a:schemeClr>
            </a:solidFill>
          </p:grpSpPr>
          <p:sp>
            <p:nvSpPr>
              <p:cNvPr id="34" name="Freeform: Shape 6647">
                <a:extLst>
                  <a:ext uri="{FF2B5EF4-FFF2-40B4-BE49-F238E27FC236}">
                    <a16:creationId xmlns:a16="http://schemas.microsoft.com/office/drawing/2014/main" id="{C5CD1041-72CC-4D73-901D-FA4D2375A07B}"/>
                  </a:ext>
                </a:extLst>
              </p:cNvPr>
              <p:cNvSpPr/>
              <p:nvPr/>
            </p:nvSpPr>
            <p:spPr>
              <a:xfrm>
                <a:off x="9708774" y="10788510"/>
                <a:ext cx="88112" cy="88112"/>
              </a:xfrm>
              <a:custGeom>
                <a:avLst/>
                <a:gdLst/>
                <a:ahLst/>
                <a:cxnLst>
                  <a:cxn ang="3cd4">
                    <a:pos x="hc" y="t"/>
                  </a:cxn>
                  <a:cxn ang="cd2">
                    <a:pos x="l" y="vc"/>
                  </a:cxn>
                  <a:cxn ang="cd4">
                    <a:pos x="hc" y="b"/>
                  </a:cxn>
                  <a:cxn ang="0">
                    <a:pos x="r" y="vc"/>
                  </a:cxn>
                </a:cxnLst>
                <a:rect l="l" t="t" r="r" b="b"/>
                <a:pathLst>
                  <a:path w="29" h="29">
                    <a:moveTo>
                      <a:pt x="8" y="2"/>
                    </a:moveTo>
                    <a:cubicBezTo>
                      <a:pt x="14" y="-2"/>
                      <a:pt x="23" y="0"/>
                      <a:pt x="27" y="7"/>
                    </a:cubicBezTo>
                    <a:cubicBezTo>
                      <a:pt x="32" y="14"/>
                      <a:pt x="29" y="23"/>
                      <a:pt x="22" y="27"/>
                    </a:cubicBezTo>
                    <a:cubicBezTo>
                      <a:pt x="15" y="31"/>
                      <a:pt x="6" y="28"/>
                      <a:pt x="2" y="22"/>
                    </a:cubicBezTo>
                    <a:cubicBezTo>
                      <a:pt x="-2" y="15"/>
                      <a:pt x="1" y="6"/>
                      <a:pt x="8" y="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5" name="Freeform: Shape 6648">
                <a:extLst>
                  <a:ext uri="{FF2B5EF4-FFF2-40B4-BE49-F238E27FC236}">
                    <a16:creationId xmlns:a16="http://schemas.microsoft.com/office/drawing/2014/main" id="{C3361ACE-6A30-4EA3-B3FD-40C45F7FCC42}"/>
                  </a:ext>
                </a:extLst>
              </p:cNvPr>
              <p:cNvSpPr/>
              <p:nvPr/>
            </p:nvSpPr>
            <p:spPr>
              <a:xfrm>
                <a:off x="9822061" y="10961587"/>
                <a:ext cx="88112" cy="88112"/>
              </a:xfrm>
              <a:custGeom>
                <a:avLst/>
                <a:gdLst/>
                <a:ahLst/>
                <a:cxnLst>
                  <a:cxn ang="3cd4">
                    <a:pos x="hc" y="t"/>
                  </a:cxn>
                  <a:cxn ang="cd2">
                    <a:pos x="l" y="vc"/>
                  </a:cxn>
                  <a:cxn ang="cd4">
                    <a:pos x="hc" y="b"/>
                  </a:cxn>
                  <a:cxn ang="0">
                    <a:pos x="r" y="vc"/>
                  </a:cxn>
                </a:cxnLst>
                <a:rect l="l" t="t" r="r" b="b"/>
                <a:pathLst>
                  <a:path w="29" h="29">
                    <a:moveTo>
                      <a:pt x="6" y="3"/>
                    </a:moveTo>
                    <a:cubicBezTo>
                      <a:pt x="12" y="-2"/>
                      <a:pt x="21" y="-1"/>
                      <a:pt x="26" y="5"/>
                    </a:cubicBezTo>
                    <a:cubicBezTo>
                      <a:pt x="31" y="12"/>
                      <a:pt x="30" y="21"/>
                      <a:pt x="23" y="26"/>
                    </a:cubicBezTo>
                    <a:cubicBezTo>
                      <a:pt x="17" y="31"/>
                      <a:pt x="8" y="29"/>
                      <a:pt x="3" y="23"/>
                    </a:cubicBezTo>
                    <a:cubicBezTo>
                      <a:pt x="-2" y="17"/>
                      <a:pt x="-1" y="8"/>
                      <a:pt x="6"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0" name="Freeform: Shape 6649">
                <a:extLst>
                  <a:ext uri="{FF2B5EF4-FFF2-40B4-BE49-F238E27FC236}">
                    <a16:creationId xmlns:a16="http://schemas.microsoft.com/office/drawing/2014/main" id="{BCE687FD-1AA9-43D8-B789-D586DB467C40}"/>
                  </a:ext>
                </a:extLst>
              </p:cNvPr>
              <p:cNvSpPr/>
              <p:nvPr/>
            </p:nvSpPr>
            <p:spPr>
              <a:xfrm>
                <a:off x="9960522" y="11118929"/>
                <a:ext cx="88112" cy="88112"/>
              </a:xfrm>
              <a:custGeom>
                <a:avLst/>
                <a:gdLst/>
                <a:ahLst/>
                <a:cxnLst>
                  <a:cxn ang="3cd4">
                    <a:pos x="hc" y="t"/>
                  </a:cxn>
                  <a:cxn ang="cd2">
                    <a:pos x="l" y="vc"/>
                  </a:cxn>
                  <a:cxn ang="cd4">
                    <a:pos x="hc" y="b"/>
                  </a:cxn>
                  <a:cxn ang="0">
                    <a:pos x="r" y="vc"/>
                  </a:cxn>
                </a:cxnLst>
                <a:rect l="l" t="t" r="r" b="b"/>
                <a:pathLst>
                  <a:path w="29" h="29">
                    <a:moveTo>
                      <a:pt x="4" y="4"/>
                    </a:moveTo>
                    <a:cubicBezTo>
                      <a:pt x="9" y="-1"/>
                      <a:pt x="19" y="-1"/>
                      <a:pt x="25" y="4"/>
                    </a:cubicBezTo>
                    <a:cubicBezTo>
                      <a:pt x="30" y="11"/>
                      <a:pt x="30" y="19"/>
                      <a:pt x="25" y="25"/>
                    </a:cubicBezTo>
                    <a:cubicBezTo>
                      <a:pt x="19" y="31"/>
                      <a:pt x="9" y="31"/>
                      <a:pt x="4" y="25"/>
                    </a:cubicBezTo>
                    <a:cubicBezTo>
                      <a:pt x="-1" y="19"/>
                      <a:pt x="-1" y="11"/>
                      <a:pt x="4"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7" name="Freeform: Shape 6650">
                <a:extLst>
                  <a:ext uri="{FF2B5EF4-FFF2-40B4-BE49-F238E27FC236}">
                    <a16:creationId xmlns:a16="http://schemas.microsoft.com/office/drawing/2014/main" id="{3B8C6698-5401-4A8D-A2CD-AFF8A4AA57E6}"/>
                  </a:ext>
                </a:extLst>
              </p:cNvPr>
              <p:cNvSpPr/>
              <p:nvPr/>
            </p:nvSpPr>
            <p:spPr>
              <a:xfrm>
                <a:off x="10117864" y="11254234"/>
                <a:ext cx="88112" cy="88112"/>
              </a:xfrm>
              <a:custGeom>
                <a:avLst/>
                <a:gdLst/>
                <a:ahLst/>
                <a:cxnLst>
                  <a:cxn ang="3cd4">
                    <a:pos x="hc" y="t"/>
                  </a:cxn>
                  <a:cxn ang="cd2">
                    <a:pos x="l" y="vc"/>
                  </a:cxn>
                  <a:cxn ang="cd4">
                    <a:pos x="hc" y="b"/>
                  </a:cxn>
                  <a:cxn ang="0">
                    <a:pos x="r" y="vc"/>
                  </a:cxn>
                </a:cxnLst>
                <a:rect l="l" t="t" r="r" b="b"/>
                <a:pathLst>
                  <a:path w="29" h="29">
                    <a:moveTo>
                      <a:pt x="3" y="6"/>
                    </a:moveTo>
                    <a:cubicBezTo>
                      <a:pt x="8" y="-1"/>
                      <a:pt x="17" y="-2"/>
                      <a:pt x="24" y="3"/>
                    </a:cubicBezTo>
                    <a:cubicBezTo>
                      <a:pt x="30" y="8"/>
                      <a:pt x="31" y="17"/>
                      <a:pt x="26" y="23"/>
                    </a:cubicBezTo>
                    <a:cubicBezTo>
                      <a:pt x="21" y="30"/>
                      <a:pt x="13" y="31"/>
                      <a:pt x="6" y="26"/>
                    </a:cubicBezTo>
                    <a:cubicBezTo>
                      <a:pt x="0" y="21"/>
                      <a:pt x="-2" y="12"/>
                      <a:pt x="3" y="6"/>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8" name="Freeform: Shape 6651">
                <a:extLst>
                  <a:ext uri="{FF2B5EF4-FFF2-40B4-BE49-F238E27FC236}">
                    <a16:creationId xmlns:a16="http://schemas.microsoft.com/office/drawing/2014/main" id="{34B04918-A40E-4574-9DDB-569897F2E140}"/>
                  </a:ext>
                </a:extLst>
              </p:cNvPr>
              <p:cNvSpPr/>
              <p:nvPr/>
            </p:nvSpPr>
            <p:spPr>
              <a:xfrm>
                <a:off x="10287785" y="11370676"/>
                <a:ext cx="88112" cy="88112"/>
              </a:xfrm>
              <a:custGeom>
                <a:avLst/>
                <a:gdLst/>
                <a:ahLst/>
                <a:cxnLst>
                  <a:cxn ang="3cd4">
                    <a:pos x="hc" y="t"/>
                  </a:cxn>
                  <a:cxn ang="cd2">
                    <a:pos x="l" y="vc"/>
                  </a:cxn>
                  <a:cxn ang="cd4">
                    <a:pos x="hc" y="b"/>
                  </a:cxn>
                  <a:cxn ang="0">
                    <a:pos x="r" y="vc"/>
                  </a:cxn>
                </a:cxnLst>
                <a:rect l="l" t="t" r="r" b="b"/>
                <a:pathLst>
                  <a:path w="29" h="29">
                    <a:moveTo>
                      <a:pt x="2" y="7"/>
                    </a:moveTo>
                    <a:cubicBezTo>
                      <a:pt x="6" y="0"/>
                      <a:pt x="15" y="-3"/>
                      <a:pt x="22" y="2"/>
                    </a:cubicBezTo>
                    <a:cubicBezTo>
                      <a:pt x="29" y="5"/>
                      <a:pt x="31" y="15"/>
                      <a:pt x="28" y="21"/>
                    </a:cubicBezTo>
                    <a:cubicBezTo>
                      <a:pt x="23" y="28"/>
                      <a:pt x="15" y="31"/>
                      <a:pt x="7" y="27"/>
                    </a:cubicBezTo>
                    <a:cubicBezTo>
                      <a:pt x="0" y="23"/>
                      <a:pt x="-2" y="14"/>
                      <a:pt x="2"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9" name="Freeform: Shape 6652">
                <a:extLst>
                  <a:ext uri="{FF2B5EF4-FFF2-40B4-BE49-F238E27FC236}">
                    <a16:creationId xmlns:a16="http://schemas.microsoft.com/office/drawing/2014/main" id="{AADC6630-39A2-4898-91DF-EA80BA1DFA1C}"/>
                  </a:ext>
                </a:extLst>
              </p:cNvPr>
              <p:cNvSpPr/>
              <p:nvPr/>
            </p:nvSpPr>
            <p:spPr>
              <a:xfrm>
                <a:off x="10476604" y="11461935"/>
                <a:ext cx="88112" cy="88112"/>
              </a:xfrm>
              <a:custGeom>
                <a:avLst/>
                <a:gdLst/>
                <a:ahLst/>
                <a:cxnLst>
                  <a:cxn ang="3cd4">
                    <a:pos x="hc" y="t"/>
                  </a:cxn>
                  <a:cxn ang="cd2">
                    <a:pos x="l" y="vc"/>
                  </a:cxn>
                  <a:cxn ang="cd4">
                    <a:pos x="hc" y="b"/>
                  </a:cxn>
                  <a:cxn ang="0">
                    <a:pos x="r" y="vc"/>
                  </a:cxn>
                </a:cxnLst>
                <a:rect l="l" t="t" r="r" b="b"/>
                <a:pathLst>
                  <a:path w="29" h="29">
                    <a:moveTo>
                      <a:pt x="1" y="9"/>
                    </a:moveTo>
                    <a:cubicBezTo>
                      <a:pt x="3" y="1"/>
                      <a:pt x="12" y="-2"/>
                      <a:pt x="19" y="1"/>
                    </a:cubicBezTo>
                    <a:cubicBezTo>
                      <a:pt x="27" y="4"/>
                      <a:pt x="31" y="13"/>
                      <a:pt x="27" y="20"/>
                    </a:cubicBezTo>
                    <a:cubicBezTo>
                      <a:pt x="24" y="27"/>
                      <a:pt x="16" y="31"/>
                      <a:pt x="8" y="28"/>
                    </a:cubicBezTo>
                    <a:cubicBezTo>
                      <a:pt x="1" y="25"/>
                      <a:pt x="-2" y="16"/>
                      <a:pt x="1" y="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0" name="Freeform: Shape 6653">
                <a:extLst>
                  <a:ext uri="{FF2B5EF4-FFF2-40B4-BE49-F238E27FC236}">
                    <a16:creationId xmlns:a16="http://schemas.microsoft.com/office/drawing/2014/main" id="{F04AF908-518B-45FE-96D2-B2AA47C0BC12}"/>
                  </a:ext>
                </a:extLst>
              </p:cNvPr>
              <p:cNvSpPr/>
              <p:nvPr/>
            </p:nvSpPr>
            <p:spPr>
              <a:xfrm>
                <a:off x="10671709" y="11528018"/>
                <a:ext cx="88112" cy="88112"/>
              </a:xfrm>
              <a:custGeom>
                <a:avLst/>
                <a:gdLst/>
                <a:ahLst/>
                <a:cxnLst>
                  <a:cxn ang="3cd4">
                    <a:pos x="hc" y="t"/>
                  </a:cxn>
                  <a:cxn ang="cd2">
                    <a:pos x="l" y="vc"/>
                  </a:cxn>
                  <a:cxn ang="cd4">
                    <a:pos x="hc" y="b"/>
                  </a:cxn>
                  <a:cxn ang="0">
                    <a:pos x="r" y="vc"/>
                  </a:cxn>
                </a:cxnLst>
                <a:rect l="l" t="t" r="r" b="b"/>
                <a:pathLst>
                  <a:path w="29" h="29">
                    <a:moveTo>
                      <a:pt x="0" y="11"/>
                    </a:moveTo>
                    <a:cubicBezTo>
                      <a:pt x="3" y="3"/>
                      <a:pt x="10" y="-2"/>
                      <a:pt x="18" y="1"/>
                    </a:cubicBezTo>
                    <a:cubicBezTo>
                      <a:pt x="26" y="3"/>
                      <a:pt x="31" y="10"/>
                      <a:pt x="28" y="18"/>
                    </a:cubicBezTo>
                    <a:cubicBezTo>
                      <a:pt x="27" y="26"/>
                      <a:pt x="18" y="31"/>
                      <a:pt x="11" y="29"/>
                    </a:cubicBezTo>
                    <a:cubicBezTo>
                      <a:pt x="3" y="26"/>
                      <a:pt x="-2" y="19"/>
                      <a:pt x="0"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1" name="Freeform: Shape 6654">
                <a:extLst>
                  <a:ext uri="{FF2B5EF4-FFF2-40B4-BE49-F238E27FC236}">
                    <a16:creationId xmlns:a16="http://schemas.microsoft.com/office/drawing/2014/main" id="{53BB139F-705E-47B5-83E6-9C48AD4AC3F4}"/>
                  </a:ext>
                </a:extLst>
              </p:cNvPr>
              <p:cNvSpPr/>
              <p:nvPr/>
            </p:nvSpPr>
            <p:spPr>
              <a:xfrm>
                <a:off x="10876245" y="11568927"/>
                <a:ext cx="88112" cy="88112"/>
              </a:xfrm>
              <a:custGeom>
                <a:avLst/>
                <a:gdLst/>
                <a:ahLst/>
                <a:cxnLst>
                  <a:cxn ang="3cd4">
                    <a:pos x="hc" y="t"/>
                  </a:cxn>
                  <a:cxn ang="cd2">
                    <a:pos x="l" y="vc"/>
                  </a:cxn>
                  <a:cxn ang="cd4">
                    <a:pos x="hc" y="b"/>
                  </a:cxn>
                  <a:cxn ang="0">
                    <a:pos x="r" y="vc"/>
                  </a:cxn>
                </a:cxnLst>
                <a:rect l="l" t="t" r="r" b="b"/>
                <a:pathLst>
                  <a:path w="29" h="29">
                    <a:moveTo>
                      <a:pt x="0" y="12"/>
                    </a:moveTo>
                    <a:cubicBezTo>
                      <a:pt x="1" y="5"/>
                      <a:pt x="8" y="-1"/>
                      <a:pt x="16" y="0"/>
                    </a:cubicBezTo>
                    <a:cubicBezTo>
                      <a:pt x="24" y="1"/>
                      <a:pt x="29" y="8"/>
                      <a:pt x="29" y="16"/>
                    </a:cubicBezTo>
                    <a:cubicBezTo>
                      <a:pt x="28" y="24"/>
                      <a:pt x="20" y="30"/>
                      <a:pt x="12" y="29"/>
                    </a:cubicBezTo>
                    <a:cubicBezTo>
                      <a:pt x="5" y="28"/>
                      <a:pt x="-2" y="21"/>
                      <a:pt x="0"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2" name="Freeform: Shape 6655">
                <a:extLst>
                  <a:ext uri="{FF2B5EF4-FFF2-40B4-BE49-F238E27FC236}">
                    <a16:creationId xmlns:a16="http://schemas.microsoft.com/office/drawing/2014/main" id="{0585147B-6492-4C0B-A53D-8893543428A5}"/>
                  </a:ext>
                </a:extLst>
              </p:cNvPr>
              <p:cNvSpPr/>
              <p:nvPr/>
            </p:nvSpPr>
            <p:spPr>
              <a:xfrm>
                <a:off x="10671709" y="11528018"/>
                <a:ext cx="88112" cy="88112"/>
              </a:xfrm>
              <a:custGeom>
                <a:avLst/>
                <a:gdLst/>
                <a:ahLst/>
                <a:cxnLst>
                  <a:cxn ang="3cd4">
                    <a:pos x="hc" y="t"/>
                  </a:cxn>
                  <a:cxn ang="cd2">
                    <a:pos x="l" y="vc"/>
                  </a:cxn>
                  <a:cxn ang="cd4">
                    <a:pos x="hc" y="b"/>
                  </a:cxn>
                  <a:cxn ang="0">
                    <a:pos x="r" y="vc"/>
                  </a:cxn>
                </a:cxnLst>
                <a:rect l="l" t="t" r="r" b="b"/>
                <a:pathLst>
                  <a:path w="29" h="29">
                    <a:moveTo>
                      <a:pt x="0" y="11"/>
                    </a:moveTo>
                    <a:cubicBezTo>
                      <a:pt x="3" y="3"/>
                      <a:pt x="10" y="-2"/>
                      <a:pt x="18" y="1"/>
                    </a:cubicBezTo>
                    <a:cubicBezTo>
                      <a:pt x="26" y="3"/>
                      <a:pt x="31" y="10"/>
                      <a:pt x="28" y="18"/>
                    </a:cubicBezTo>
                    <a:cubicBezTo>
                      <a:pt x="27" y="26"/>
                      <a:pt x="18" y="31"/>
                      <a:pt x="11" y="29"/>
                    </a:cubicBezTo>
                    <a:cubicBezTo>
                      <a:pt x="3" y="26"/>
                      <a:pt x="-2" y="19"/>
                      <a:pt x="0"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3" name="Freeform: Shape 6656">
                <a:extLst>
                  <a:ext uri="{FF2B5EF4-FFF2-40B4-BE49-F238E27FC236}">
                    <a16:creationId xmlns:a16="http://schemas.microsoft.com/office/drawing/2014/main" id="{D603865B-3E68-42B3-8769-077495E2ED03}"/>
                  </a:ext>
                </a:extLst>
              </p:cNvPr>
              <p:cNvSpPr/>
              <p:nvPr/>
            </p:nvSpPr>
            <p:spPr>
              <a:xfrm>
                <a:off x="10876245" y="11568927"/>
                <a:ext cx="88112" cy="88112"/>
              </a:xfrm>
              <a:custGeom>
                <a:avLst/>
                <a:gdLst/>
                <a:ahLst/>
                <a:cxnLst>
                  <a:cxn ang="3cd4">
                    <a:pos x="hc" y="t"/>
                  </a:cxn>
                  <a:cxn ang="cd2">
                    <a:pos x="l" y="vc"/>
                  </a:cxn>
                  <a:cxn ang="cd4">
                    <a:pos x="hc" y="b"/>
                  </a:cxn>
                  <a:cxn ang="0">
                    <a:pos x="r" y="vc"/>
                  </a:cxn>
                </a:cxnLst>
                <a:rect l="l" t="t" r="r" b="b"/>
                <a:pathLst>
                  <a:path w="29" h="29">
                    <a:moveTo>
                      <a:pt x="0" y="12"/>
                    </a:moveTo>
                    <a:cubicBezTo>
                      <a:pt x="1" y="5"/>
                      <a:pt x="8" y="-1"/>
                      <a:pt x="16" y="0"/>
                    </a:cubicBezTo>
                    <a:cubicBezTo>
                      <a:pt x="24" y="1"/>
                      <a:pt x="29" y="8"/>
                      <a:pt x="29" y="16"/>
                    </a:cubicBezTo>
                    <a:cubicBezTo>
                      <a:pt x="28" y="24"/>
                      <a:pt x="20" y="30"/>
                      <a:pt x="12" y="29"/>
                    </a:cubicBezTo>
                    <a:cubicBezTo>
                      <a:pt x="5" y="28"/>
                      <a:pt x="-2" y="21"/>
                      <a:pt x="0"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4" name="Freeform: Shape 6657">
                <a:extLst>
                  <a:ext uri="{FF2B5EF4-FFF2-40B4-BE49-F238E27FC236}">
                    <a16:creationId xmlns:a16="http://schemas.microsoft.com/office/drawing/2014/main" id="{627FF9E5-6D30-450A-A4BD-624E6523F5E9}"/>
                  </a:ext>
                </a:extLst>
              </p:cNvPr>
              <p:cNvSpPr/>
              <p:nvPr/>
            </p:nvSpPr>
            <p:spPr>
              <a:xfrm>
                <a:off x="9617516" y="10602846"/>
                <a:ext cx="88112" cy="84965"/>
              </a:xfrm>
              <a:custGeom>
                <a:avLst/>
                <a:gdLst/>
                <a:ahLst/>
                <a:cxnLst>
                  <a:cxn ang="3cd4">
                    <a:pos x="hc" y="t"/>
                  </a:cxn>
                  <a:cxn ang="cd2">
                    <a:pos x="l" y="vc"/>
                  </a:cxn>
                  <a:cxn ang="cd4">
                    <a:pos x="hc" y="b"/>
                  </a:cxn>
                  <a:cxn ang="0">
                    <a:pos x="r" y="vc"/>
                  </a:cxn>
                </a:cxnLst>
                <a:rect l="l" t="t" r="r" b="b"/>
                <a:pathLst>
                  <a:path w="29" h="28">
                    <a:moveTo>
                      <a:pt x="20" y="27"/>
                    </a:moveTo>
                    <a:cubicBezTo>
                      <a:pt x="28" y="24"/>
                      <a:pt x="31" y="16"/>
                      <a:pt x="28" y="9"/>
                    </a:cubicBezTo>
                    <a:cubicBezTo>
                      <a:pt x="25" y="1"/>
                      <a:pt x="16" y="-2"/>
                      <a:pt x="9" y="1"/>
                    </a:cubicBezTo>
                    <a:cubicBezTo>
                      <a:pt x="2" y="4"/>
                      <a:pt x="-2" y="12"/>
                      <a:pt x="1" y="20"/>
                    </a:cubicBezTo>
                    <a:cubicBezTo>
                      <a:pt x="4" y="27"/>
                      <a:pt x="13" y="30"/>
                      <a:pt x="20" y="2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5" name="Freeform: Shape 6658">
                <a:extLst>
                  <a:ext uri="{FF2B5EF4-FFF2-40B4-BE49-F238E27FC236}">
                    <a16:creationId xmlns:a16="http://schemas.microsoft.com/office/drawing/2014/main" id="{0DA66E59-BF97-41E6-8688-E36E7C5E764D}"/>
                  </a:ext>
                </a:extLst>
              </p:cNvPr>
              <p:cNvSpPr/>
              <p:nvPr/>
            </p:nvSpPr>
            <p:spPr>
              <a:xfrm>
                <a:off x="9548285" y="10404587"/>
                <a:ext cx="88112" cy="88112"/>
              </a:xfrm>
              <a:custGeom>
                <a:avLst/>
                <a:gdLst/>
                <a:ahLst/>
                <a:cxnLst>
                  <a:cxn ang="3cd4">
                    <a:pos x="hc" y="t"/>
                  </a:cxn>
                  <a:cxn ang="cd2">
                    <a:pos x="l" y="vc"/>
                  </a:cxn>
                  <a:cxn ang="cd4">
                    <a:pos x="hc" y="b"/>
                  </a:cxn>
                  <a:cxn ang="0">
                    <a:pos x="r" y="vc"/>
                  </a:cxn>
                </a:cxnLst>
                <a:rect l="l" t="t" r="r" b="b"/>
                <a:pathLst>
                  <a:path w="29" h="29">
                    <a:moveTo>
                      <a:pt x="18" y="28"/>
                    </a:moveTo>
                    <a:cubicBezTo>
                      <a:pt x="26" y="26"/>
                      <a:pt x="31" y="19"/>
                      <a:pt x="28" y="11"/>
                    </a:cubicBezTo>
                    <a:cubicBezTo>
                      <a:pt x="27" y="3"/>
                      <a:pt x="18" y="-2"/>
                      <a:pt x="11" y="1"/>
                    </a:cubicBezTo>
                    <a:cubicBezTo>
                      <a:pt x="3" y="3"/>
                      <a:pt x="-2" y="10"/>
                      <a:pt x="0" y="18"/>
                    </a:cubicBezTo>
                    <a:cubicBezTo>
                      <a:pt x="3" y="26"/>
                      <a:pt x="10" y="31"/>
                      <a:pt x="18"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6" name="Freeform: Shape 6659">
                <a:extLst>
                  <a:ext uri="{FF2B5EF4-FFF2-40B4-BE49-F238E27FC236}">
                    <a16:creationId xmlns:a16="http://schemas.microsoft.com/office/drawing/2014/main" id="{0F2409AA-331A-43A7-823A-301DC2220764}"/>
                  </a:ext>
                </a:extLst>
              </p:cNvPr>
              <p:cNvSpPr/>
              <p:nvPr/>
            </p:nvSpPr>
            <p:spPr>
              <a:xfrm>
                <a:off x="9507376" y="10200042"/>
                <a:ext cx="88112" cy="88112"/>
              </a:xfrm>
              <a:custGeom>
                <a:avLst/>
                <a:gdLst/>
                <a:ahLst/>
                <a:cxnLst>
                  <a:cxn ang="3cd4">
                    <a:pos x="hc" y="t"/>
                  </a:cxn>
                  <a:cxn ang="cd2">
                    <a:pos x="l" y="vc"/>
                  </a:cxn>
                  <a:cxn ang="cd4">
                    <a:pos x="hc" y="b"/>
                  </a:cxn>
                  <a:cxn ang="0">
                    <a:pos x="r" y="vc"/>
                  </a:cxn>
                </a:cxnLst>
                <a:rect l="l" t="t" r="r" b="b"/>
                <a:pathLst>
                  <a:path w="29" h="29">
                    <a:moveTo>
                      <a:pt x="16" y="29"/>
                    </a:moveTo>
                    <a:cubicBezTo>
                      <a:pt x="24" y="28"/>
                      <a:pt x="30" y="21"/>
                      <a:pt x="29" y="13"/>
                    </a:cubicBezTo>
                    <a:cubicBezTo>
                      <a:pt x="28" y="5"/>
                      <a:pt x="21" y="0"/>
                      <a:pt x="13" y="0"/>
                    </a:cubicBezTo>
                    <a:cubicBezTo>
                      <a:pt x="5" y="2"/>
                      <a:pt x="-1" y="9"/>
                      <a:pt x="0" y="17"/>
                    </a:cubicBezTo>
                    <a:cubicBezTo>
                      <a:pt x="1" y="25"/>
                      <a:pt x="9" y="30"/>
                      <a:pt x="16"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7" name="Freeform: Shape 6660">
                <a:extLst>
                  <a:ext uri="{FF2B5EF4-FFF2-40B4-BE49-F238E27FC236}">
                    <a16:creationId xmlns:a16="http://schemas.microsoft.com/office/drawing/2014/main" id="{502DBE2D-3579-44B4-B780-4E1D6483EA39}"/>
                  </a:ext>
                </a:extLst>
              </p:cNvPr>
              <p:cNvSpPr/>
              <p:nvPr/>
            </p:nvSpPr>
            <p:spPr>
              <a:xfrm>
                <a:off x="9497936" y="9992350"/>
                <a:ext cx="88112" cy="88112"/>
              </a:xfrm>
              <a:custGeom>
                <a:avLst/>
                <a:gdLst/>
                <a:ahLst/>
                <a:cxnLst>
                  <a:cxn ang="3cd4">
                    <a:pos x="hc" y="t"/>
                  </a:cxn>
                  <a:cxn ang="cd2">
                    <a:pos x="l" y="vc"/>
                  </a:cxn>
                  <a:cxn ang="cd4">
                    <a:pos x="hc" y="b"/>
                  </a:cxn>
                  <a:cxn ang="0">
                    <a:pos x="r" y="vc"/>
                  </a:cxn>
                </a:cxnLst>
                <a:rect l="l" t="t" r="r" b="b"/>
                <a:pathLst>
                  <a:path w="29" h="29">
                    <a:moveTo>
                      <a:pt x="14" y="29"/>
                    </a:moveTo>
                    <a:cubicBezTo>
                      <a:pt x="22" y="29"/>
                      <a:pt x="29" y="23"/>
                      <a:pt x="29" y="15"/>
                    </a:cubicBezTo>
                    <a:cubicBezTo>
                      <a:pt x="29" y="7"/>
                      <a:pt x="22" y="0"/>
                      <a:pt x="14" y="0"/>
                    </a:cubicBezTo>
                    <a:cubicBezTo>
                      <a:pt x="6" y="0"/>
                      <a:pt x="0" y="7"/>
                      <a:pt x="0" y="15"/>
                    </a:cubicBezTo>
                    <a:cubicBezTo>
                      <a:pt x="0" y="23"/>
                      <a:pt x="6" y="29"/>
                      <a:pt x="14"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8" name="Freeform: Shape 6661">
                <a:extLst>
                  <a:ext uri="{FF2B5EF4-FFF2-40B4-BE49-F238E27FC236}">
                    <a16:creationId xmlns:a16="http://schemas.microsoft.com/office/drawing/2014/main" id="{5067D419-97AC-4758-9281-98DEEF4E8066}"/>
                  </a:ext>
                </a:extLst>
              </p:cNvPr>
              <p:cNvSpPr/>
              <p:nvPr/>
            </p:nvSpPr>
            <p:spPr>
              <a:xfrm>
                <a:off x="9507376" y="9784667"/>
                <a:ext cx="88112" cy="88112"/>
              </a:xfrm>
              <a:custGeom>
                <a:avLst/>
                <a:gdLst/>
                <a:ahLst/>
                <a:cxnLst>
                  <a:cxn ang="3cd4">
                    <a:pos x="hc" y="t"/>
                  </a:cxn>
                  <a:cxn ang="cd2">
                    <a:pos x="l" y="vc"/>
                  </a:cxn>
                  <a:cxn ang="cd4">
                    <a:pos x="hc" y="b"/>
                  </a:cxn>
                  <a:cxn ang="0">
                    <a:pos x="r" y="vc"/>
                  </a:cxn>
                </a:cxnLst>
                <a:rect l="l" t="t" r="r" b="b"/>
                <a:pathLst>
                  <a:path w="29" h="29">
                    <a:moveTo>
                      <a:pt x="13" y="29"/>
                    </a:moveTo>
                    <a:cubicBezTo>
                      <a:pt x="21" y="30"/>
                      <a:pt x="28" y="25"/>
                      <a:pt x="29" y="17"/>
                    </a:cubicBezTo>
                    <a:cubicBezTo>
                      <a:pt x="30" y="9"/>
                      <a:pt x="24" y="2"/>
                      <a:pt x="16" y="0"/>
                    </a:cubicBezTo>
                    <a:cubicBezTo>
                      <a:pt x="9" y="0"/>
                      <a:pt x="1" y="5"/>
                      <a:pt x="0" y="13"/>
                    </a:cubicBezTo>
                    <a:cubicBezTo>
                      <a:pt x="-1" y="21"/>
                      <a:pt x="5" y="28"/>
                      <a:pt x="13"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9" name="Freeform: Shape 6662">
                <a:extLst>
                  <a:ext uri="{FF2B5EF4-FFF2-40B4-BE49-F238E27FC236}">
                    <a16:creationId xmlns:a16="http://schemas.microsoft.com/office/drawing/2014/main" id="{6E07E862-A1E0-4C06-BB0A-640C2E4E419B}"/>
                  </a:ext>
                </a:extLst>
              </p:cNvPr>
              <p:cNvSpPr/>
              <p:nvPr/>
            </p:nvSpPr>
            <p:spPr>
              <a:xfrm>
                <a:off x="9548285" y="9583269"/>
                <a:ext cx="88112" cy="88112"/>
              </a:xfrm>
              <a:custGeom>
                <a:avLst/>
                <a:gdLst/>
                <a:ahLst/>
                <a:cxnLst>
                  <a:cxn ang="3cd4">
                    <a:pos x="hc" y="t"/>
                  </a:cxn>
                  <a:cxn ang="cd2">
                    <a:pos x="l" y="vc"/>
                  </a:cxn>
                  <a:cxn ang="cd4">
                    <a:pos x="hc" y="b"/>
                  </a:cxn>
                  <a:cxn ang="0">
                    <a:pos x="r" y="vc"/>
                  </a:cxn>
                </a:cxnLst>
                <a:rect l="l" t="t" r="r" b="b"/>
                <a:pathLst>
                  <a:path w="29" h="29">
                    <a:moveTo>
                      <a:pt x="11" y="29"/>
                    </a:moveTo>
                    <a:cubicBezTo>
                      <a:pt x="18" y="32"/>
                      <a:pt x="27" y="27"/>
                      <a:pt x="28" y="19"/>
                    </a:cubicBezTo>
                    <a:cubicBezTo>
                      <a:pt x="31" y="11"/>
                      <a:pt x="26" y="3"/>
                      <a:pt x="18" y="1"/>
                    </a:cubicBezTo>
                    <a:cubicBezTo>
                      <a:pt x="10" y="-1"/>
                      <a:pt x="3" y="3"/>
                      <a:pt x="0" y="11"/>
                    </a:cubicBezTo>
                    <a:cubicBezTo>
                      <a:pt x="-2" y="19"/>
                      <a:pt x="3" y="27"/>
                      <a:pt x="11"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0" name="Freeform: Shape 6663">
                <a:extLst>
                  <a:ext uri="{FF2B5EF4-FFF2-40B4-BE49-F238E27FC236}">
                    <a16:creationId xmlns:a16="http://schemas.microsoft.com/office/drawing/2014/main" id="{B3B86130-8FCD-4AF4-BA58-40AF38287647}"/>
                  </a:ext>
                </a:extLst>
              </p:cNvPr>
              <p:cNvSpPr/>
              <p:nvPr/>
            </p:nvSpPr>
            <p:spPr>
              <a:xfrm>
                <a:off x="9617516" y="9385018"/>
                <a:ext cx="88112" cy="88112"/>
              </a:xfrm>
              <a:custGeom>
                <a:avLst/>
                <a:gdLst/>
                <a:ahLst/>
                <a:cxnLst>
                  <a:cxn ang="3cd4">
                    <a:pos x="hc" y="t"/>
                  </a:cxn>
                  <a:cxn ang="cd2">
                    <a:pos x="l" y="vc"/>
                  </a:cxn>
                  <a:cxn ang="cd4">
                    <a:pos x="hc" y="b"/>
                  </a:cxn>
                  <a:cxn ang="0">
                    <a:pos x="r" y="vc"/>
                  </a:cxn>
                </a:cxnLst>
                <a:rect l="l" t="t" r="r" b="b"/>
                <a:pathLst>
                  <a:path w="29" h="29">
                    <a:moveTo>
                      <a:pt x="9" y="28"/>
                    </a:moveTo>
                    <a:cubicBezTo>
                      <a:pt x="16" y="31"/>
                      <a:pt x="25" y="28"/>
                      <a:pt x="28" y="20"/>
                    </a:cubicBezTo>
                    <a:cubicBezTo>
                      <a:pt x="31" y="13"/>
                      <a:pt x="28" y="5"/>
                      <a:pt x="20" y="1"/>
                    </a:cubicBezTo>
                    <a:cubicBezTo>
                      <a:pt x="13" y="-2"/>
                      <a:pt x="4" y="2"/>
                      <a:pt x="1" y="9"/>
                    </a:cubicBezTo>
                    <a:cubicBezTo>
                      <a:pt x="-2" y="17"/>
                      <a:pt x="2" y="25"/>
                      <a:pt x="9"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grpSp>
          <p:nvGrpSpPr>
            <p:cNvPr id="71" name="Group 366">
              <a:extLst>
                <a:ext uri="{FF2B5EF4-FFF2-40B4-BE49-F238E27FC236}">
                  <a16:creationId xmlns:a16="http://schemas.microsoft.com/office/drawing/2014/main" id="{D6AE428E-002B-4AB9-B5F8-83A9CD4F56A8}"/>
                </a:ext>
              </a:extLst>
            </p:cNvPr>
            <p:cNvGrpSpPr/>
            <p:nvPr/>
          </p:nvGrpSpPr>
          <p:grpSpPr>
            <a:xfrm>
              <a:off x="8495576" y="4554126"/>
              <a:ext cx="551235" cy="852230"/>
              <a:chOff x="16732529" y="9385018"/>
              <a:chExt cx="1469576" cy="2272021"/>
            </a:xfrm>
            <a:solidFill>
              <a:schemeClr val="accent2">
                <a:lumMod val="75000"/>
              </a:schemeClr>
            </a:solidFill>
          </p:grpSpPr>
          <p:sp>
            <p:nvSpPr>
              <p:cNvPr id="72" name="Freeform: Shape 6664">
                <a:extLst>
                  <a:ext uri="{FF2B5EF4-FFF2-40B4-BE49-F238E27FC236}">
                    <a16:creationId xmlns:a16="http://schemas.microsoft.com/office/drawing/2014/main" id="{E90F14F2-0999-44B9-A6C5-5E71021C9AC7}"/>
                  </a:ext>
                </a:extLst>
              </p:cNvPr>
              <p:cNvSpPr/>
              <p:nvPr/>
            </p:nvSpPr>
            <p:spPr>
              <a:xfrm>
                <a:off x="17900008" y="10788510"/>
                <a:ext cx="88112" cy="88112"/>
              </a:xfrm>
              <a:custGeom>
                <a:avLst/>
                <a:gdLst/>
                <a:ahLst/>
                <a:cxnLst>
                  <a:cxn ang="3cd4">
                    <a:pos x="hc" y="t"/>
                  </a:cxn>
                  <a:cxn ang="cd2">
                    <a:pos x="l" y="vc"/>
                  </a:cxn>
                  <a:cxn ang="cd4">
                    <a:pos x="hc" y="b"/>
                  </a:cxn>
                  <a:cxn ang="0">
                    <a:pos x="r" y="vc"/>
                  </a:cxn>
                </a:cxnLst>
                <a:rect l="l" t="t" r="r" b="b"/>
                <a:pathLst>
                  <a:path w="29" h="29">
                    <a:moveTo>
                      <a:pt x="7" y="27"/>
                    </a:moveTo>
                    <a:cubicBezTo>
                      <a:pt x="0" y="23"/>
                      <a:pt x="-2" y="14"/>
                      <a:pt x="2" y="7"/>
                    </a:cubicBezTo>
                    <a:cubicBezTo>
                      <a:pt x="6" y="0"/>
                      <a:pt x="15" y="-2"/>
                      <a:pt x="22" y="2"/>
                    </a:cubicBezTo>
                    <a:cubicBezTo>
                      <a:pt x="29" y="6"/>
                      <a:pt x="31" y="15"/>
                      <a:pt x="27" y="22"/>
                    </a:cubicBezTo>
                    <a:cubicBezTo>
                      <a:pt x="23" y="28"/>
                      <a:pt x="14" y="31"/>
                      <a:pt x="7" y="2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3" name="Freeform: Shape 6665">
                <a:extLst>
                  <a:ext uri="{FF2B5EF4-FFF2-40B4-BE49-F238E27FC236}">
                    <a16:creationId xmlns:a16="http://schemas.microsoft.com/office/drawing/2014/main" id="{ED12281C-E1D6-4717-AB98-3543E9DF575E}"/>
                  </a:ext>
                </a:extLst>
              </p:cNvPr>
              <p:cNvSpPr/>
              <p:nvPr/>
            </p:nvSpPr>
            <p:spPr>
              <a:xfrm>
                <a:off x="17991266" y="10602846"/>
                <a:ext cx="88112" cy="84965"/>
              </a:xfrm>
              <a:custGeom>
                <a:avLst/>
                <a:gdLst/>
                <a:ahLst/>
                <a:cxnLst>
                  <a:cxn ang="3cd4">
                    <a:pos x="hc" y="t"/>
                  </a:cxn>
                  <a:cxn ang="cd2">
                    <a:pos x="l" y="vc"/>
                  </a:cxn>
                  <a:cxn ang="cd4">
                    <a:pos x="hc" y="b"/>
                  </a:cxn>
                  <a:cxn ang="0">
                    <a:pos x="r" y="vc"/>
                  </a:cxn>
                </a:cxnLst>
                <a:rect l="l" t="t" r="r" b="b"/>
                <a:pathLst>
                  <a:path w="29" h="28">
                    <a:moveTo>
                      <a:pt x="9" y="27"/>
                    </a:moveTo>
                    <a:cubicBezTo>
                      <a:pt x="2" y="24"/>
                      <a:pt x="-2" y="16"/>
                      <a:pt x="1" y="9"/>
                    </a:cubicBezTo>
                    <a:cubicBezTo>
                      <a:pt x="5" y="1"/>
                      <a:pt x="13" y="-2"/>
                      <a:pt x="20" y="1"/>
                    </a:cubicBezTo>
                    <a:cubicBezTo>
                      <a:pt x="28" y="4"/>
                      <a:pt x="31" y="12"/>
                      <a:pt x="28" y="20"/>
                    </a:cubicBezTo>
                    <a:cubicBezTo>
                      <a:pt x="25" y="27"/>
                      <a:pt x="16" y="30"/>
                      <a:pt x="9" y="2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4" name="Freeform: Shape 6666">
                <a:extLst>
                  <a:ext uri="{FF2B5EF4-FFF2-40B4-BE49-F238E27FC236}">
                    <a16:creationId xmlns:a16="http://schemas.microsoft.com/office/drawing/2014/main" id="{D617A098-C66F-47C0-BD4D-A4580FFABEFF}"/>
                  </a:ext>
                </a:extLst>
              </p:cNvPr>
              <p:cNvSpPr/>
              <p:nvPr/>
            </p:nvSpPr>
            <p:spPr>
              <a:xfrm>
                <a:off x="18060497" y="10404587"/>
                <a:ext cx="88112" cy="88112"/>
              </a:xfrm>
              <a:custGeom>
                <a:avLst/>
                <a:gdLst/>
                <a:ahLst/>
                <a:cxnLst>
                  <a:cxn ang="3cd4">
                    <a:pos x="hc" y="t"/>
                  </a:cxn>
                  <a:cxn ang="cd2">
                    <a:pos x="l" y="vc"/>
                  </a:cxn>
                  <a:cxn ang="cd4">
                    <a:pos x="hc" y="b"/>
                  </a:cxn>
                  <a:cxn ang="0">
                    <a:pos x="r" y="vc"/>
                  </a:cxn>
                </a:cxnLst>
                <a:rect l="l" t="t" r="r" b="b"/>
                <a:pathLst>
                  <a:path w="29" h="29">
                    <a:moveTo>
                      <a:pt x="11" y="28"/>
                    </a:moveTo>
                    <a:cubicBezTo>
                      <a:pt x="3" y="26"/>
                      <a:pt x="-1" y="19"/>
                      <a:pt x="1" y="11"/>
                    </a:cubicBezTo>
                    <a:cubicBezTo>
                      <a:pt x="3" y="3"/>
                      <a:pt x="11" y="-2"/>
                      <a:pt x="19" y="1"/>
                    </a:cubicBezTo>
                    <a:cubicBezTo>
                      <a:pt x="27" y="3"/>
                      <a:pt x="31" y="10"/>
                      <a:pt x="29" y="18"/>
                    </a:cubicBezTo>
                    <a:cubicBezTo>
                      <a:pt x="27" y="26"/>
                      <a:pt x="19" y="31"/>
                      <a:pt x="11"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5" name="Freeform: Shape 6667">
                <a:extLst>
                  <a:ext uri="{FF2B5EF4-FFF2-40B4-BE49-F238E27FC236}">
                    <a16:creationId xmlns:a16="http://schemas.microsoft.com/office/drawing/2014/main" id="{75CC5B73-6FC1-4012-980E-0EFA4B09B23F}"/>
                  </a:ext>
                </a:extLst>
              </p:cNvPr>
              <p:cNvSpPr/>
              <p:nvPr/>
            </p:nvSpPr>
            <p:spPr>
              <a:xfrm>
                <a:off x="18101406" y="10200042"/>
                <a:ext cx="88112" cy="88112"/>
              </a:xfrm>
              <a:custGeom>
                <a:avLst/>
                <a:gdLst/>
                <a:ahLst/>
                <a:cxnLst>
                  <a:cxn ang="3cd4">
                    <a:pos x="hc" y="t"/>
                  </a:cxn>
                  <a:cxn ang="cd2">
                    <a:pos x="l" y="vc"/>
                  </a:cxn>
                  <a:cxn ang="cd4">
                    <a:pos x="hc" y="b"/>
                  </a:cxn>
                  <a:cxn ang="0">
                    <a:pos x="r" y="vc"/>
                  </a:cxn>
                </a:cxnLst>
                <a:rect l="l" t="t" r="r" b="b"/>
                <a:pathLst>
                  <a:path w="29" h="29">
                    <a:moveTo>
                      <a:pt x="12" y="29"/>
                    </a:moveTo>
                    <a:cubicBezTo>
                      <a:pt x="4" y="28"/>
                      <a:pt x="-2" y="21"/>
                      <a:pt x="0" y="13"/>
                    </a:cubicBezTo>
                    <a:cubicBezTo>
                      <a:pt x="0" y="5"/>
                      <a:pt x="8" y="0"/>
                      <a:pt x="16" y="0"/>
                    </a:cubicBezTo>
                    <a:cubicBezTo>
                      <a:pt x="24" y="2"/>
                      <a:pt x="29" y="9"/>
                      <a:pt x="28" y="17"/>
                    </a:cubicBezTo>
                    <a:cubicBezTo>
                      <a:pt x="27" y="25"/>
                      <a:pt x="20" y="30"/>
                      <a:pt x="12"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6" name="Freeform: Shape 6668">
                <a:extLst>
                  <a:ext uri="{FF2B5EF4-FFF2-40B4-BE49-F238E27FC236}">
                    <a16:creationId xmlns:a16="http://schemas.microsoft.com/office/drawing/2014/main" id="{59B2F79C-4053-4874-AE38-42B22346964B}"/>
                  </a:ext>
                </a:extLst>
              </p:cNvPr>
              <p:cNvSpPr/>
              <p:nvPr/>
            </p:nvSpPr>
            <p:spPr>
              <a:xfrm>
                <a:off x="18110847" y="9992350"/>
                <a:ext cx="91258" cy="88112"/>
              </a:xfrm>
              <a:custGeom>
                <a:avLst/>
                <a:gdLst/>
                <a:ahLst/>
                <a:cxnLst>
                  <a:cxn ang="3cd4">
                    <a:pos x="hc" y="t"/>
                  </a:cxn>
                  <a:cxn ang="cd2">
                    <a:pos x="l" y="vc"/>
                  </a:cxn>
                  <a:cxn ang="cd4">
                    <a:pos x="hc" y="b"/>
                  </a:cxn>
                  <a:cxn ang="0">
                    <a:pos x="r" y="vc"/>
                  </a:cxn>
                </a:cxnLst>
                <a:rect l="l" t="t" r="r" b="b"/>
                <a:pathLst>
                  <a:path w="30" h="29">
                    <a:moveTo>
                      <a:pt x="15" y="29"/>
                    </a:moveTo>
                    <a:cubicBezTo>
                      <a:pt x="7" y="29"/>
                      <a:pt x="0" y="23"/>
                      <a:pt x="0" y="15"/>
                    </a:cubicBezTo>
                    <a:cubicBezTo>
                      <a:pt x="0" y="7"/>
                      <a:pt x="7" y="0"/>
                      <a:pt x="15" y="0"/>
                    </a:cubicBezTo>
                    <a:cubicBezTo>
                      <a:pt x="23" y="0"/>
                      <a:pt x="30" y="7"/>
                      <a:pt x="30" y="15"/>
                    </a:cubicBezTo>
                    <a:cubicBezTo>
                      <a:pt x="30" y="23"/>
                      <a:pt x="23" y="29"/>
                      <a:pt x="15"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7" name="Freeform: Shape 6669">
                <a:extLst>
                  <a:ext uri="{FF2B5EF4-FFF2-40B4-BE49-F238E27FC236}">
                    <a16:creationId xmlns:a16="http://schemas.microsoft.com/office/drawing/2014/main" id="{B4C58A20-0E15-414E-B54B-1CF08DA0ECCC}"/>
                  </a:ext>
                </a:extLst>
              </p:cNvPr>
              <p:cNvSpPr/>
              <p:nvPr/>
            </p:nvSpPr>
            <p:spPr>
              <a:xfrm>
                <a:off x="18101406" y="9784667"/>
                <a:ext cx="88112" cy="88112"/>
              </a:xfrm>
              <a:custGeom>
                <a:avLst/>
                <a:gdLst/>
                <a:ahLst/>
                <a:cxnLst>
                  <a:cxn ang="3cd4">
                    <a:pos x="hc" y="t"/>
                  </a:cxn>
                  <a:cxn ang="cd2">
                    <a:pos x="l" y="vc"/>
                  </a:cxn>
                  <a:cxn ang="cd4">
                    <a:pos x="hc" y="b"/>
                  </a:cxn>
                  <a:cxn ang="0">
                    <a:pos x="r" y="vc"/>
                  </a:cxn>
                </a:cxnLst>
                <a:rect l="l" t="t" r="r" b="b"/>
                <a:pathLst>
                  <a:path w="29" h="29">
                    <a:moveTo>
                      <a:pt x="16" y="29"/>
                    </a:moveTo>
                    <a:cubicBezTo>
                      <a:pt x="8" y="30"/>
                      <a:pt x="0" y="25"/>
                      <a:pt x="0" y="17"/>
                    </a:cubicBezTo>
                    <a:cubicBezTo>
                      <a:pt x="-2" y="9"/>
                      <a:pt x="4" y="2"/>
                      <a:pt x="12" y="0"/>
                    </a:cubicBezTo>
                    <a:cubicBezTo>
                      <a:pt x="20" y="0"/>
                      <a:pt x="27" y="5"/>
                      <a:pt x="28" y="13"/>
                    </a:cubicBezTo>
                    <a:cubicBezTo>
                      <a:pt x="29" y="21"/>
                      <a:pt x="24" y="28"/>
                      <a:pt x="16"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8" name="Freeform: Shape 6670">
                <a:extLst>
                  <a:ext uri="{FF2B5EF4-FFF2-40B4-BE49-F238E27FC236}">
                    <a16:creationId xmlns:a16="http://schemas.microsoft.com/office/drawing/2014/main" id="{43750A01-8173-4640-B063-C2D1A5DC1073}"/>
                  </a:ext>
                </a:extLst>
              </p:cNvPr>
              <p:cNvSpPr/>
              <p:nvPr/>
            </p:nvSpPr>
            <p:spPr>
              <a:xfrm>
                <a:off x="18060497" y="9583269"/>
                <a:ext cx="88112" cy="88112"/>
              </a:xfrm>
              <a:custGeom>
                <a:avLst/>
                <a:gdLst/>
                <a:ahLst/>
                <a:cxnLst>
                  <a:cxn ang="3cd4">
                    <a:pos x="hc" y="t"/>
                  </a:cxn>
                  <a:cxn ang="cd2">
                    <a:pos x="l" y="vc"/>
                  </a:cxn>
                  <a:cxn ang="cd4">
                    <a:pos x="hc" y="b"/>
                  </a:cxn>
                  <a:cxn ang="0">
                    <a:pos x="r" y="vc"/>
                  </a:cxn>
                </a:cxnLst>
                <a:rect l="l" t="t" r="r" b="b"/>
                <a:pathLst>
                  <a:path w="29" h="29">
                    <a:moveTo>
                      <a:pt x="19" y="29"/>
                    </a:moveTo>
                    <a:cubicBezTo>
                      <a:pt x="11" y="32"/>
                      <a:pt x="3" y="27"/>
                      <a:pt x="1" y="19"/>
                    </a:cubicBezTo>
                    <a:cubicBezTo>
                      <a:pt x="-1" y="11"/>
                      <a:pt x="3" y="3"/>
                      <a:pt x="11" y="1"/>
                    </a:cubicBezTo>
                    <a:cubicBezTo>
                      <a:pt x="19" y="-1"/>
                      <a:pt x="27" y="3"/>
                      <a:pt x="29" y="11"/>
                    </a:cubicBezTo>
                    <a:cubicBezTo>
                      <a:pt x="31" y="19"/>
                      <a:pt x="27" y="27"/>
                      <a:pt x="19"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9" name="Freeform: Shape 6671">
                <a:extLst>
                  <a:ext uri="{FF2B5EF4-FFF2-40B4-BE49-F238E27FC236}">
                    <a16:creationId xmlns:a16="http://schemas.microsoft.com/office/drawing/2014/main" id="{5F7D5123-F033-4F35-96CD-6F80A66CDEB3}"/>
                  </a:ext>
                </a:extLst>
              </p:cNvPr>
              <p:cNvSpPr/>
              <p:nvPr/>
            </p:nvSpPr>
            <p:spPr>
              <a:xfrm>
                <a:off x="17991266" y="9385018"/>
                <a:ext cx="88112" cy="88112"/>
              </a:xfrm>
              <a:custGeom>
                <a:avLst/>
                <a:gdLst/>
                <a:ahLst/>
                <a:cxnLst>
                  <a:cxn ang="3cd4">
                    <a:pos x="hc" y="t"/>
                  </a:cxn>
                  <a:cxn ang="cd2">
                    <a:pos x="l" y="vc"/>
                  </a:cxn>
                  <a:cxn ang="cd4">
                    <a:pos x="hc" y="b"/>
                  </a:cxn>
                  <a:cxn ang="0">
                    <a:pos x="r" y="vc"/>
                  </a:cxn>
                </a:cxnLst>
                <a:rect l="l" t="t" r="r" b="b"/>
                <a:pathLst>
                  <a:path w="29" h="29">
                    <a:moveTo>
                      <a:pt x="20" y="28"/>
                    </a:moveTo>
                    <a:cubicBezTo>
                      <a:pt x="13" y="31"/>
                      <a:pt x="5" y="28"/>
                      <a:pt x="1" y="20"/>
                    </a:cubicBezTo>
                    <a:cubicBezTo>
                      <a:pt x="-2" y="13"/>
                      <a:pt x="2" y="5"/>
                      <a:pt x="9" y="1"/>
                    </a:cubicBezTo>
                    <a:cubicBezTo>
                      <a:pt x="16" y="-2"/>
                      <a:pt x="25" y="2"/>
                      <a:pt x="28" y="9"/>
                    </a:cubicBezTo>
                    <a:cubicBezTo>
                      <a:pt x="31" y="17"/>
                      <a:pt x="28" y="25"/>
                      <a:pt x="20"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0" name="Freeform: Shape 6672">
                <a:extLst>
                  <a:ext uri="{FF2B5EF4-FFF2-40B4-BE49-F238E27FC236}">
                    <a16:creationId xmlns:a16="http://schemas.microsoft.com/office/drawing/2014/main" id="{4AF4E4DB-0291-4E02-87C1-0C6129284059}"/>
                  </a:ext>
                </a:extLst>
              </p:cNvPr>
              <p:cNvSpPr/>
              <p:nvPr/>
            </p:nvSpPr>
            <p:spPr>
              <a:xfrm>
                <a:off x="18060497" y="9583269"/>
                <a:ext cx="88112" cy="88112"/>
              </a:xfrm>
              <a:custGeom>
                <a:avLst/>
                <a:gdLst/>
                <a:ahLst/>
                <a:cxnLst>
                  <a:cxn ang="3cd4">
                    <a:pos x="hc" y="t"/>
                  </a:cxn>
                  <a:cxn ang="cd2">
                    <a:pos x="l" y="vc"/>
                  </a:cxn>
                  <a:cxn ang="cd4">
                    <a:pos x="hc" y="b"/>
                  </a:cxn>
                  <a:cxn ang="0">
                    <a:pos x="r" y="vc"/>
                  </a:cxn>
                </a:cxnLst>
                <a:rect l="l" t="t" r="r" b="b"/>
                <a:pathLst>
                  <a:path w="29" h="29">
                    <a:moveTo>
                      <a:pt x="19" y="29"/>
                    </a:moveTo>
                    <a:cubicBezTo>
                      <a:pt x="11" y="32"/>
                      <a:pt x="3" y="27"/>
                      <a:pt x="1" y="19"/>
                    </a:cubicBezTo>
                    <a:cubicBezTo>
                      <a:pt x="-1" y="11"/>
                      <a:pt x="3" y="3"/>
                      <a:pt x="11" y="1"/>
                    </a:cubicBezTo>
                    <a:cubicBezTo>
                      <a:pt x="19" y="-1"/>
                      <a:pt x="27" y="3"/>
                      <a:pt x="29" y="11"/>
                    </a:cubicBezTo>
                    <a:cubicBezTo>
                      <a:pt x="31" y="19"/>
                      <a:pt x="27" y="27"/>
                      <a:pt x="19"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1" name="Freeform: Shape 6673">
                <a:extLst>
                  <a:ext uri="{FF2B5EF4-FFF2-40B4-BE49-F238E27FC236}">
                    <a16:creationId xmlns:a16="http://schemas.microsoft.com/office/drawing/2014/main" id="{DEECEF59-9839-41EA-A0C0-9D6056F08283}"/>
                  </a:ext>
                </a:extLst>
              </p:cNvPr>
              <p:cNvSpPr/>
              <p:nvPr/>
            </p:nvSpPr>
            <p:spPr>
              <a:xfrm>
                <a:off x="17991266" y="9385018"/>
                <a:ext cx="88112" cy="88112"/>
              </a:xfrm>
              <a:custGeom>
                <a:avLst/>
                <a:gdLst/>
                <a:ahLst/>
                <a:cxnLst>
                  <a:cxn ang="3cd4">
                    <a:pos x="hc" y="t"/>
                  </a:cxn>
                  <a:cxn ang="cd2">
                    <a:pos x="l" y="vc"/>
                  </a:cxn>
                  <a:cxn ang="cd4">
                    <a:pos x="hc" y="b"/>
                  </a:cxn>
                  <a:cxn ang="0">
                    <a:pos x="r" y="vc"/>
                  </a:cxn>
                </a:cxnLst>
                <a:rect l="l" t="t" r="r" b="b"/>
                <a:pathLst>
                  <a:path w="29" h="29">
                    <a:moveTo>
                      <a:pt x="20" y="28"/>
                    </a:moveTo>
                    <a:cubicBezTo>
                      <a:pt x="13" y="31"/>
                      <a:pt x="5" y="28"/>
                      <a:pt x="1" y="20"/>
                    </a:cubicBezTo>
                    <a:cubicBezTo>
                      <a:pt x="-2" y="13"/>
                      <a:pt x="2" y="5"/>
                      <a:pt x="9" y="1"/>
                    </a:cubicBezTo>
                    <a:cubicBezTo>
                      <a:pt x="16" y="-2"/>
                      <a:pt x="25" y="2"/>
                      <a:pt x="28" y="9"/>
                    </a:cubicBezTo>
                    <a:cubicBezTo>
                      <a:pt x="31" y="17"/>
                      <a:pt x="28" y="25"/>
                      <a:pt x="20"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2" name="Freeform: Shape 6674">
                <a:extLst>
                  <a:ext uri="{FF2B5EF4-FFF2-40B4-BE49-F238E27FC236}">
                    <a16:creationId xmlns:a16="http://schemas.microsoft.com/office/drawing/2014/main" id="{9A02736B-BFC7-4425-B868-C12BD37CEA42}"/>
                  </a:ext>
                </a:extLst>
              </p:cNvPr>
              <p:cNvSpPr/>
              <p:nvPr/>
            </p:nvSpPr>
            <p:spPr>
              <a:xfrm>
                <a:off x="17786722" y="10961587"/>
                <a:ext cx="88112" cy="88112"/>
              </a:xfrm>
              <a:custGeom>
                <a:avLst/>
                <a:gdLst/>
                <a:ahLst/>
                <a:cxnLst>
                  <a:cxn ang="3cd4">
                    <a:pos x="hc" y="t"/>
                  </a:cxn>
                  <a:cxn ang="cd2">
                    <a:pos x="l" y="vc"/>
                  </a:cxn>
                  <a:cxn ang="cd4">
                    <a:pos x="hc" y="b"/>
                  </a:cxn>
                  <a:cxn ang="0">
                    <a:pos x="r" y="vc"/>
                  </a:cxn>
                </a:cxnLst>
                <a:rect l="l" t="t" r="r" b="b"/>
                <a:pathLst>
                  <a:path w="29" h="29">
                    <a:moveTo>
                      <a:pt x="24" y="3"/>
                    </a:moveTo>
                    <a:cubicBezTo>
                      <a:pt x="17" y="-2"/>
                      <a:pt x="8" y="-1"/>
                      <a:pt x="3" y="5"/>
                    </a:cubicBezTo>
                    <a:cubicBezTo>
                      <a:pt x="-2" y="12"/>
                      <a:pt x="0" y="21"/>
                      <a:pt x="6" y="26"/>
                    </a:cubicBezTo>
                    <a:cubicBezTo>
                      <a:pt x="12" y="31"/>
                      <a:pt x="22" y="29"/>
                      <a:pt x="26" y="23"/>
                    </a:cubicBezTo>
                    <a:cubicBezTo>
                      <a:pt x="31" y="17"/>
                      <a:pt x="30" y="8"/>
                      <a:pt x="24"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3" name="Freeform: Shape 6675">
                <a:extLst>
                  <a:ext uri="{FF2B5EF4-FFF2-40B4-BE49-F238E27FC236}">
                    <a16:creationId xmlns:a16="http://schemas.microsoft.com/office/drawing/2014/main" id="{B6DF31F9-2E7C-44E8-B9AC-753B83BAD5F7}"/>
                  </a:ext>
                </a:extLst>
              </p:cNvPr>
              <p:cNvSpPr/>
              <p:nvPr/>
            </p:nvSpPr>
            <p:spPr>
              <a:xfrm>
                <a:off x="17648261" y="11118929"/>
                <a:ext cx="88112" cy="88112"/>
              </a:xfrm>
              <a:custGeom>
                <a:avLst/>
                <a:gdLst/>
                <a:ahLst/>
                <a:cxnLst>
                  <a:cxn ang="3cd4">
                    <a:pos x="hc" y="t"/>
                  </a:cxn>
                  <a:cxn ang="cd2">
                    <a:pos x="l" y="vc"/>
                  </a:cxn>
                  <a:cxn ang="cd4">
                    <a:pos x="hc" y="b"/>
                  </a:cxn>
                  <a:cxn ang="0">
                    <a:pos x="r" y="vc"/>
                  </a:cxn>
                </a:cxnLst>
                <a:rect l="l" t="t" r="r" b="b"/>
                <a:pathLst>
                  <a:path w="29" h="29">
                    <a:moveTo>
                      <a:pt x="25" y="4"/>
                    </a:moveTo>
                    <a:cubicBezTo>
                      <a:pt x="19" y="-1"/>
                      <a:pt x="10" y="-1"/>
                      <a:pt x="4" y="4"/>
                    </a:cubicBezTo>
                    <a:cubicBezTo>
                      <a:pt x="-1" y="11"/>
                      <a:pt x="-1" y="19"/>
                      <a:pt x="4" y="25"/>
                    </a:cubicBezTo>
                    <a:cubicBezTo>
                      <a:pt x="10" y="31"/>
                      <a:pt x="19" y="31"/>
                      <a:pt x="25" y="25"/>
                    </a:cubicBezTo>
                    <a:cubicBezTo>
                      <a:pt x="30" y="19"/>
                      <a:pt x="30" y="11"/>
                      <a:pt x="25"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4" name="Freeform: Shape 6676">
                <a:extLst>
                  <a:ext uri="{FF2B5EF4-FFF2-40B4-BE49-F238E27FC236}">
                    <a16:creationId xmlns:a16="http://schemas.microsoft.com/office/drawing/2014/main" id="{5B91DA06-BF12-4ED3-B871-6AAE0FD5227A}"/>
                  </a:ext>
                </a:extLst>
              </p:cNvPr>
              <p:cNvSpPr/>
              <p:nvPr/>
            </p:nvSpPr>
            <p:spPr>
              <a:xfrm>
                <a:off x="17490918" y="11254234"/>
                <a:ext cx="88112" cy="88112"/>
              </a:xfrm>
              <a:custGeom>
                <a:avLst/>
                <a:gdLst/>
                <a:ahLst/>
                <a:cxnLst>
                  <a:cxn ang="3cd4">
                    <a:pos x="hc" y="t"/>
                  </a:cxn>
                  <a:cxn ang="cd2">
                    <a:pos x="l" y="vc"/>
                  </a:cxn>
                  <a:cxn ang="cd4">
                    <a:pos x="hc" y="b"/>
                  </a:cxn>
                  <a:cxn ang="0">
                    <a:pos x="r" y="vc"/>
                  </a:cxn>
                </a:cxnLst>
                <a:rect l="l" t="t" r="r" b="b"/>
                <a:pathLst>
                  <a:path w="29" h="29">
                    <a:moveTo>
                      <a:pt x="26" y="6"/>
                    </a:moveTo>
                    <a:cubicBezTo>
                      <a:pt x="21" y="-1"/>
                      <a:pt x="12" y="-2"/>
                      <a:pt x="6" y="3"/>
                    </a:cubicBezTo>
                    <a:cubicBezTo>
                      <a:pt x="-1" y="8"/>
                      <a:pt x="-2" y="17"/>
                      <a:pt x="3" y="23"/>
                    </a:cubicBezTo>
                    <a:cubicBezTo>
                      <a:pt x="8" y="30"/>
                      <a:pt x="17" y="31"/>
                      <a:pt x="23" y="26"/>
                    </a:cubicBezTo>
                    <a:cubicBezTo>
                      <a:pt x="30" y="21"/>
                      <a:pt x="31" y="12"/>
                      <a:pt x="26" y="6"/>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5" name="Freeform: Shape 6677">
                <a:extLst>
                  <a:ext uri="{FF2B5EF4-FFF2-40B4-BE49-F238E27FC236}">
                    <a16:creationId xmlns:a16="http://schemas.microsoft.com/office/drawing/2014/main" id="{FC889C98-767D-48D2-A256-3108222DC23C}"/>
                  </a:ext>
                </a:extLst>
              </p:cNvPr>
              <p:cNvSpPr/>
              <p:nvPr/>
            </p:nvSpPr>
            <p:spPr>
              <a:xfrm>
                <a:off x="17320980" y="11370676"/>
                <a:ext cx="88112" cy="88112"/>
              </a:xfrm>
              <a:custGeom>
                <a:avLst/>
                <a:gdLst/>
                <a:ahLst/>
                <a:cxnLst>
                  <a:cxn ang="3cd4">
                    <a:pos x="hc" y="t"/>
                  </a:cxn>
                  <a:cxn ang="cd2">
                    <a:pos x="l" y="vc"/>
                  </a:cxn>
                  <a:cxn ang="cd4">
                    <a:pos x="hc" y="b"/>
                  </a:cxn>
                  <a:cxn ang="0">
                    <a:pos x="r" y="vc"/>
                  </a:cxn>
                </a:cxnLst>
                <a:rect l="l" t="t" r="r" b="b"/>
                <a:pathLst>
                  <a:path w="29" h="29">
                    <a:moveTo>
                      <a:pt x="27" y="7"/>
                    </a:moveTo>
                    <a:cubicBezTo>
                      <a:pt x="23" y="0"/>
                      <a:pt x="14" y="-3"/>
                      <a:pt x="8" y="2"/>
                    </a:cubicBezTo>
                    <a:cubicBezTo>
                      <a:pt x="1" y="5"/>
                      <a:pt x="-2" y="15"/>
                      <a:pt x="2" y="21"/>
                    </a:cubicBezTo>
                    <a:cubicBezTo>
                      <a:pt x="6" y="28"/>
                      <a:pt x="15" y="31"/>
                      <a:pt x="22" y="27"/>
                    </a:cubicBezTo>
                    <a:cubicBezTo>
                      <a:pt x="29" y="23"/>
                      <a:pt x="31" y="14"/>
                      <a:pt x="27"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6" name="Freeform: Shape 6678">
                <a:extLst>
                  <a:ext uri="{FF2B5EF4-FFF2-40B4-BE49-F238E27FC236}">
                    <a16:creationId xmlns:a16="http://schemas.microsoft.com/office/drawing/2014/main" id="{85B52AE3-7B7F-4CC4-AE9C-E1F4676988D7}"/>
                  </a:ext>
                </a:extLst>
              </p:cNvPr>
              <p:cNvSpPr/>
              <p:nvPr/>
            </p:nvSpPr>
            <p:spPr>
              <a:xfrm>
                <a:off x="17132169" y="11461935"/>
                <a:ext cx="88112" cy="88112"/>
              </a:xfrm>
              <a:custGeom>
                <a:avLst/>
                <a:gdLst/>
                <a:ahLst/>
                <a:cxnLst>
                  <a:cxn ang="3cd4">
                    <a:pos x="hc" y="t"/>
                  </a:cxn>
                  <a:cxn ang="cd2">
                    <a:pos x="l" y="vc"/>
                  </a:cxn>
                  <a:cxn ang="cd4">
                    <a:pos x="hc" y="b"/>
                  </a:cxn>
                  <a:cxn ang="0">
                    <a:pos x="r" y="vc"/>
                  </a:cxn>
                </a:cxnLst>
                <a:rect l="l" t="t" r="r" b="b"/>
                <a:pathLst>
                  <a:path w="29" h="29">
                    <a:moveTo>
                      <a:pt x="28" y="9"/>
                    </a:moveTo>
                    <a:cubicBezTo>
                      <a:pt x="25" y="1"/>
                      <a:pt x="16" y="-2"/>
                      <a:pt x="9" y="1"/>
                    </a:cubicBezTo>
                    <a:cubicBezTo>
                      <a:pt x="2" y="4"/>
                      <a:pt x="-2" y="13"/>
                      <a:pt x="1" y="20"/>
                    </a:cubicBezTo>
                    <a:cubicBezTo>
                      <a:pt x="4" y="27"/>
                      <a:pt x="12" y="31"/>
                      <a:pt x="20" y="28"/>
                    </a:cubicBezTo>
                    <a:cubicBezTo>
                      <a:pt x="27" y="25"/>
                      <a:pt x="31" y="16"/>
                      <a:pt x="28" y="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7" name="Freeform: Shape 6679">
                <a:extLst>
                  <a:ext uri="{FF2B5EF4-FFF2-40B4-BE49-F238E27FC236}">
                    <a16:creationId xmlns:a16="http://schemas.microsoft.com/office/drawing/2014/main" id="{3BC38F5D-B715-40DC-A49C-9A9D7AFDB13D}"/>
                  </a:ext>
                </a:extLst>
              </p:cNvPr>
              <p:cNvSpPr/>
              <p:nvPr/>
            </p:nvSpPr>
            <p:spPr>
              <a:xfrm>
                <a:off x="16937074" y="11528018"/>
                <a:ext cx="88112" cy="88112"/>
              </a:xfrm>
              <a:custGeom>
                <a:avLst/>
                <a:gdLst/>
                <a:ahLst/>
                <a:cxnLst>
                  <a:cxn ang="3cd4">
                    <a:pos x="hc" y="t"/>
                  </a:cxn>
                  <a:cxn ang="cd2">
                    <a:pos x="l" y="vc"/>
                  </a:cxn>
                  <a:cxn ang="cd4">
                    <a:pos x="hc" y="b"/>
                  </a:cxn>
                  <a:cxn ang="0">
                    <a:pos x="r" y="vc"/>
                  </a:cxn>
                </a:cxnLst>
                <a:rect l="l" t="t" r="r" b="b"/>
                <a:pathLst>
                  <a:path w="29" h="29">
                    <a:moveTo>
                      <a:pt x="29" y="11"/>
                    </a:moveTo>
                    <a:cubicBezTo>
                      <a:pt x="27" y="3"/>
                      <a:pt x="19" y="-2"/>
                      <a:pt x="11" y="1"/>
                    </a:cubicBezTo>
                    <a:cubicBezTo>
                      <a:pt x="3" y="3"/>
                      <a:pt x="-1" y="10"/>
                      <a:pt x="1" y="18"/>
                    </a:cubicBezTo>
                    <a:cubicBezTo>
                      <a:pt x="3" y="26"/>
                      <a:pt x="11" y="31"/>
                      <a:pt x="19" y="29"/>
                    </a:cubicBezTo>
                    <a:cubicBezTo>
                      <a:pt x="27" y="26"/>
                      <a:pt x="31" y="19"/>
                      <a:pt x="29"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8" name="Freeform: Shape 6680">
                <a:extLst>
                  <a:ext uri="{FF2B5EF4-FFF2-40B4-BE49-F238E27FC236}">
                    <a16:creationId xmlns:a16="http://schemas.microsoft.com/office/drawing/2014/main" id="{930D672E-2870-4F79-9827-301E77F7A317}"/>
                  </a:ext>
                </a:extLst>
              </p:cNvPr>
              <p:cNvSpPr/>
              <p:nvPr/>
            </p:nvSpPr>
            <p:spPr>
              <a:xfrm>
                <a:off x="16732529" y="11568927"/>
                <a:ext cx="88112" cy="88112"/>
              </a:xfrm>
              <a:custGeom>
                <a:avLst/>
                <a:gdLst/>
                <a:ahLst/>
                <a:cxnLst>
                  <a:cxn ang="3cd4">
                    <a:pos x="hc" y="t"/>
                  </a:cxn>
                  <a:cxn ang="cd2">
                    <a:pos x="l" y="vc"/>
                  </a:cxn>
                  <a:cxn ang="cd4">
                    <a:pos x="hc" y="b"/>
                  </a:cxn>
                  <a:cxn ang="0">
                    <a:pos x="r" y="vc"/>
                  </a:cxn>
                </a:cxnLst>
                <a:rect l="l" t="t" r="r" b="b"/>
                <a:pathLst>
                  <a:path w="29" h="29">
                    <a:moveTo>
                      <a:pt x="29" y="12"/>
                    </a:moveTo>
                    <a:cubicBezTo>
                      <a:pt x="28" y="5"/>
                      <a:pt x="21" y="-1"/>
                      <a:pt x="12" y="0"/>
                    </a:cubicBezTo>
                    <a:cubicBezTo>
                      <a:pt x="4" y="1"/>
                      <a:pt x="-1" y="8"/>
                      <a:pt x="0" y="16"/>
                    </a:cubicBezTo>
                    <a:cubicBezTo>
                      <a:pt x="1" y="24"/>
                      <a:pt x="8" y="30"/>
                      <a:pt x="16" y="29"/>
                    </a:cubicBezTo>
                    <a:cubicBezTo>
                      <a:pt x="24" y="28"/>
                      <a:pt x="29" y="21"/>
                      <a:pt x="29"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sp>
          <p:nvSpPr>
            <p:cNvPr id="89" name="Freeform: Shape 6681">
              <a:extLst>
                <a:ext uri="{FF2B5EF4-FFF2-40B4-BE49-F238E27FC236}">
                  <a16:creationId xmlns:a16="http://schemas.microsoft.com/office/drawing/2014/main" id="{8B2DB872-2720-41AF-908D-0F0753E98BFC}"/>
                </a:ext>
              </a:extLst>
            </p:cNvPr>
            <p:cNvSpPr/>
            <p:nvPr/>
          </p:nvSpPr>
          <p:spPr>
            <a:xfrm>
              <a:off x="5871604" y="4274374"/>
              <a:ext cx="1048172" cy="1048172"/>
            </a:xfrm>
            <a:custGeom>
              <a:avLst/>
              <a:gdLst/>
              <a:ahLst/>
              <a:cxnLst>
                <a:cxn ang="3cd4">
                  <a:pos x="hc" y="t"/>
                </a:cxn>
                <a:cxn ang="cd2">
                  <a:pos x="l" y="vc"/>
                </a:cxn>
                <a:cxn ang="cd4">
                  <a:pos x="hc" y="b"/>
                </a:cxn>
                <a:cxn ang="0">
                  <a:pos x="r" y="vc"/>
                </a:cxn>
              </a:cxnLst>
              <a:rect l="l" t="t" r="r" b="b"/>
              <a:pathLst>
                <a:path w="889" h="889">
                  <a:moveTo>
                    <a:pt x="626" y="758"/>
                  </a:moveTo>
                  <a:cubicBezTo>
                    <a:pt x="453" y="858"/>
                    <a:pt x="231" y="799"/>
                    <a:pt x="132" y="626"/>
                  </a:cubicBezTo>
                  <a:cubicBezTo>
                    <a:pt x="32" y="453"/>
                    <a:pt x="91" y="232"/>
                    <a:pt x="264" y="132"/>
                  </a:cubicBezTo>
                  <a:cubicBezTo>
                    <a:pt x="437" y="32"/>
                    <a:pt x="658" y="91"/>
                    <a:pt x="758" y="264"/>
                  </a:cubicBezTo>
                  <a:cubicBezTo>
                    <a:pt x="858" y="437"/>
                    <a:pt x="798" y="658"/>
                    <a:pt x="626" y="758"/>
                  </a:cubicBezTo>
                  <a:close/>
                  <a:moveTo>
                    <a:pt x="830" y="223"/>
                  </a:moveTo>
                  <a:cubicBezTo>
                    <a:pt x="707" y="10"/>
                    <a:pt x="435" y="-63"/>
                    <a:pt x="222" y="60"/>
                  </a:cubicBezTo>
                  <a:cubicBezTo>
                    <a:pt x="10" y="183"/>
                    <a:pt x="-63" y="455"/>
                    <a:pt x="60" y="667"/>
                  </a:cubicBezTo>
                  <a:cubicBezTo>
                    <a:pt x="182" y="880"/>
                    <a:pt x="454" y="953"/>
                    <a:pt x="667" y="830"/>
                  </a:cubicBezTo>
                  <a:cubicBezTo>
                    <a:pt x="880" y="707"/>
                    <a:pt x="953" y="435"/>
                    <a:pt x="830" y="223"/>
                  </a:cubicBezTo>
                  <a:close/>
                </a:path>
              </a:pathLst>
            </a:custGeom>
            <a:solidFill>
              <a:schemeClr val="accent3">
                <a:lumMod val="75000"/>
              </a:schemeClr>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nvGrpSpPr>
            <p:cNvPr id="90" name="Group 365">
              <a:extLst>
                <a:ext uri="{FF2B5EF4-FFF2-40B4-BE49-F238E27FC236}">
                  <a16:creationId xmlns:a16="http://schemas.microsoft.com/office/drawing/2014/main" id="{6570A4EC-7873-4C3E-A5ED-D8EE389D8782}"/>
                </a:ext>
              </a:extLst>
            </p:cNvPr>
            <p:cNvGrpSpPr/>
            <p:nvPr/>
          </p:nvGrpSpPr>
          <p:grpSpPr>
            <a:xfrm>
              <a:off x="6930400" y="2420011"/>
              <a:ext cx="978530" cy="266765"/>
              <a:chOff x="12559815" y="3695525"/>
              <a:chExt cx="2608733" cy="711187"/>
            </a:xfrm>
            <a:solidFill>
              <a:schemeClr val="accent1">
                <a:lumMod val="75000"/>
              </a:schemeClr>
            </a:solidFill>
          </p:grpSpPr>
          <p:sp>
            <p:nvSpPr>
              <p:cNvPr id="91" name="Freeform: Shape 6627">
                <a:extLst>
                  <a:ext uri="{FF2B5EF4-FFF2-40B4-BE49-F238E27FC236}">
                    <a16:creationId xmlns:a16="http://schemas.microsoft.com/office/drawing/2014/main" id="{53756D7D-C511-4F0F-A998-C52DBA902264}"/>
                  </a:ext>
                </a:extLst>
              </p:cNvPr>
              <p:cNvSpPr/>
              <p:nvPr/>
            </p:nvSpPr>
            <p:spPr>
              <a:xfrm>
                <a:off x="13818552" y="3695525"/>
                <a:ext cx="88112" cy="88112"/>
              </a:xfrm>
              <a:custGeom>
                <a:avLst/>
                <a:gdLst/>
                <a:ahLst/>
                <a:cxnLst>
                  <a:cxn ang="3cd4">
                    <a:pos x="hc" y="t"/>
                  </a:cxn>
                  <a:cxn ang="cd2">
                    <a:pos x="l" y="vc"/>
                  </a:cxn>
                  <a:cxn ang="cd4">
                    <a:pos x="hc" y="b"/>
                  </a:cxn>
                  <a:cxn ang="0">
                    <a:pos x="r" y="vc"/>
                  </a:cxn>
                </a:cxnLst>
                <a:rect l="l" t="t" r="r" b="b"/>
                <a:pathLst>
                  <a:path w="29" h="29">
                    <a:moveTo>
                      <a:pt x="29" y="14"/>
                    </a:moveTo>
                    <a:cubicBezTo>
                      <a:pt x="29" y="23"/>
                      <a:pt x="22" y="29"/>
                      <a:pt x="15" y="29"/>
                    </a:cubicBezTo>
                    <a:cubicBezTo>
                      <a:pt x="6" y="29"/>
                      <a:pt x="0" y="23"/>
                      <a:pt x="0" y="14"/>
                    </a:cubicBezTo>
                    <a:cubicBezTo>
                      <a:pt x="0" y="6"/>
                      <a:pt x="6" y="0"/>
                      <a:pt x="15" y="0"/>
                    </a:cubicBezTo>
                    <a:cubicBezTo>
                      <a:pt x="22" y="0"/>
                      <a:pt x="29" y="6"/>
                      <a:pt x="29" y="1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2" name="Freeform: Shape 6628">
                <a:extLst>
                  <a:ext uri="{FF2B5EF4-FFF2-40B4-BE49-F238E27FC236}">
                    <a16:creationId xmlns:a16="http://schemas.microsoft.com/office/drawing/2014/main" id="{843FE0A1-8068-42B2-A676-5FD619E33E6A}"/>
                  </a:ext>
                </a:extLst>
              </p:cNvPr>
              <p:cNvSpPr/>
              <p:nvPr/>
            </p:nvSpPr>
            <p:spPr>
              <a:xfrm>
                <a:off x="13610860" y="3711259"/>
                <a:ext cx="88112" cy="88112"/>
              </a:xfrm>
              <a:custGeom>
                <a:avLst/>
                <a:gdLst/>
                <a:ahLst/>
                <a:cxnLst>
                  <a:cxn ang="3cd4">
                    <a:pos x="hc" y="t"/>
                  </a:cxn>
                  <a:cxn ang="cd2">
                    <a:pos x="l" y="vc"/>
                  </a:cxn>
                  <a:cxn ang="cd4">
                    <a:pos x="hc" y="b"/>
                  </a:cxn>
                  <a:cxn ang="0">
                    <a:pos x="r" y="vc"/>
                  </a:cxn>
                </a:cxnLst>
                <a:rect l="l" t="t" r="r" b="b"/>
                <a:pathLst>
                  <a:path w="29" h="29">
                    <a:moveTo>
                      <a:pt x="29" y="12"/>
                    </a:moveTo>
                    <a:cubicBezTo>
                      <a:pt x="30" y="20"/>
                      <a:pt x="24" y="27"/>
                      <a:pt x="17" y="28"/>
                    </a:cubicBezTo>
                    <a:cubicBezTo>
                      <a:pt x="8" y="29"/>
                      <a:pt x="1" y="24"/>
                      <a:pt x="0" y="16"/>
                    </a:cubicBezTo>
                    <a:cubicBezTo>
                      <a:pt x="-1" y="8"/>
                      <a:pt x="5" y="1"/>
                      <a:pt x="13" y="0"/>
                    </a:cubicBezTo>
                    <a:cubicBezTo>
                      <a:pt x="20" y="-2"/>
                      <a:pt x="28" y="4"/>
                      <a:pt x="29"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3" name="Freeform: Shape 6629">
                <a:extLst>
                  <a:ext uri="{FF2B5EF4-FFF2-40B4-BE49-F238E27FC236}">
                    <a16:creationId xmlns:a16="http://schemas.microsoft.com/office/drawing/2014/main" id="{7CC15A7A-CE77-4E34-9CAC-E131FF7616A3}"/>
                  </a:ext>
                </a:extLst>
              </p:cNvPr>
              <p:cNvSpPr/>
              <p:nvPr/>
            </p:nvSpPr>
            <p:spPr>
              <a:xfrm>
                <a:off x="13409462" y="3752168"/>
                <a:ext cx="88112" cy="88112"/>
              </a:xfrm>
              <a:custGeom>
                <a:avLst/>
                <a:gdLst/>
                <a:ahLst/>
                <a:cxnLst>
                  <a:cxn ang="3cd4">
                    <a:pos x="hc" y="t"/>
                  </a:cxn>
                  <a:cxn ang="cd2">
                    <a:pos x="l" y="vc"/>
                  </a:cxn>
                  <a:cxn ang="cd4">
                    <a:pos x="hc" y="b"/>
                  </a:cxn>
                  <a:cxn ang="0">
                    <a:pos x="r" y="vc"/>
                  </a:cxn>
                </a:cxnLst>
                <a:rect l="l" t="t" r="r" b="b"/>
                <a:pathLst>
                  <a:path w="29" h="29">
                    <a:moveTo>
                      <a:pt x="29" y="11"/>
                    </a:moveTo>
                    <a:cubicBezTo>
                      <a:pt x="31" y="19"/>
                      <a:pt x="26" y="27"/>
                      <a:pt x="18" y="29"/>
                    </a:cubicBezTo>
                    <a:cubicBezTo>
                      <a:pt x="11" y="31"/>
                      <a:pt x="3" y="26"/>
                      <a:pt x="1" y="19"/>
                    </a:cubicBezTo>
                    <a:cubicBezTo>
                      <a:pt x="-1" y="11"/>
                      <a:pt x="3" y="3"/>
                      <a:pt x="11" y="1"/>
                    </a:cubicBezTo>
                    <a:cubicBezTo>
                      <a:pt x="19" y="-1"/>
                      <a:pt x="27" y="3"/>
                      <a:pt x="29"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4" name="Freeform: Shape 6630">
                <a:extLst>
                  <a:ext uri="{FF2B5EF4-FFF2-40B4-BE49-F238E27FC236}">
                    <a16:creationId xmlns:a16="http://schemas.microsoft.com/office/drawing/2014/main" id="{B7DFFE74-5412-4BA9-A0DD-9DD892AAF0DA}"/>
                  </a:ext>
                </a:extLst>
              </p:cNvPr>
              <p:cNvSpPr/>
              <p:nvPr/>
            </p:nvSpPr>
            <p:spPr>
              <a:xfrm>
                <a:off x="13211211" y="3815105"/>
                <a:ext cx="88112" cy="88112"/>
              </a:xfrm>
              <a:custGeom>
                <a:avLst/>
                <a:gdLst/>
                <a:ahLst/>
                <a:cxnLst>
                  <a:cxn ang="3cd4">
                    <a:pos x="hc" y="t"/>
                  </a:cxn>
                  <a:cxn ang="cd2">
                    <a:pos x="l" y="vc"/>
                  </a:cxn>
                  <a:cxn ang="cd4">
                    <a:pos x="hc" y="b"/>
                  </a:cxn>
                  <a:cxn ang="0">
                    <a:pos x="r" y="vc"/>
                  </a:cxn>
                </a:cxnLst>
                <a:rect l="l" t="t" r="r" b="b"/>
                <a:pathLst>
                  <a:path w="29" h="29">
                    <a:moveTo>
                      <a:pt x="28" y="10"/>
                    </a:moveTo>
                    <a:cubicBezTo>
                      <a:pt x="31" y="17"/>
                      <a:pt x="27" y="26"/>
                      <a:pt x="20" y="28"/>
                    </a:cubicBezTo>
                    <a:cubicBezTo>
                      <a:pt x="13" y="31"/>
                      <a:pt x="4" y="28"/>
                      <a:pt x="1" y="20"/>
                    </a:cubicBezTo>
                    <a:cubicBezTo>
                      <a:pt x="-2" y="13"/>
                      <a:pt x="2" y="4"/>
                      <a:pt x="9" y="1"/>
                    </a:cubicBezTo>
                    <a:cubicBezTo>
                      <a:pt x="16" y="-2"/>
                      <a:pt x="25" y="2"/>
                      <a:pt x="28" y="10"/>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5" name="Freeform: Shape 6631">
                <a:extLst>
                  <a:ext uri="{FF2B5EF4-FFF2-40B4-BE49-F238E27FC236}">
                    <a16:creationId xmlns:a16="http://schemas.microsoft.com/office/drawing/2014/main" id="{ADB50DE1-A76F-4D0A-8096-98D6FCF1CE1B}"/>
                  </a:ext>
                </a:extLst>
              </p:cNvPr>
              <p:cNvSpPr/>
              <p:nvPr/>
            </p:nvSpPr>
            <p:spPr>
              <a:xfrm>
                <a:off x="13025547" y="3909502"/>
                <a:ext cx="88112" cy="88112"/>
              </a:xfrm>
              <a:custGeom>
                <a:avLst/>
                <a:gdLst/>
                <a:ahLst/>
                <a:cxnLst>
                  <a:cxn ang="3cd4">
                    <a:pos x="hc" y="t"/>
                  </a:cxn>
                  <a:cxn ang="cd2">
                    <a:pos x="l" y="vc"/>
                  </a:cxn>
                  <a:cxn ang="cd4">
                    <a:pos x="hc" y="b"/>
                  </a:cxn>
                  <a:cxn ang="0">
                    <a:pos x="r" y="vc"/>
                  </a:cxn>
                </a:cxnLst>
                <a:rect l="l" t="t" r="r" b="b"/>
                <a:pathLst>
                  <a:path w="29" h="29">
                    <a:moveTo>
                      <a:pt x="26" y="7"/>
                    </a:moveTo>
                    <a:cubicBezTo>
                      <a:pt x="31" y="14"/>
                      <a:pt x="28" y="23"/>
                      <a:pt x="21" y="27"/>
                    </a:cubicBezTo>
                    <a:cubicBezTo>
                      <a:pt x="14" y="31"/>
                      <a:pt x="6" y="29"/>
                      <a:pt x="2" y="21"/>
                    </a:cubicBezTo>
                    <a:cubicBezTo>
                      <a:pt x="-3" y="14"/>
                      <a:pt x="0" y="5"/>
                      <a:pt x="7" y="1"/>
                    </a:cubicBezTo>
                    <a:cubicBezTo>
                      <a:pt x="14" y="-2"/>
                      <a:pt x="23" y="0"/>
                      <a:pt x="26"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6" name="Freeform: Shape 6632">
                <a:extLst>
                  <a:ext uri="{FF2B5EF4-FFF2-40B4-BE49-F238E27FC236}">
                    <a16:creationId xmlns:a16="http://schemas.microsoft.com/office/drawing/2014/main" id="{D30BB182-066F-41B3-88DF-8BA73F1CDFE5}"/>
                  </a:ext>
                </a:extLst>
              </p:cNvPr>
              <p:cNvSpPr/>
              <p:nvPr/>
            </p:nvSpPr>
            <p:spPr>
              <a:xfrm>
                <a:off x="12852471" y="4025935"/>
                <a:ext cx="88112" cy="88112"/>
              </a:xfrm>
              <a:custGeom>
                <a:avLst/>
                <a:gdLst/>
                <a:ahLst/>
                <a:cxnLst>
                  <a:cxn ang="3cd4">
                    <a:pos x="hc" y="t"/>
                  </a:cxn>
                  <a:cxn ang="cd2">
                    <a:pos x="l" y="vc"/>
                  </a:cxn>
                  <a:cxn ang="cd4">
                    <a:pos x="hc" y="b"/>
                  </a:cxn>
                  <a:cxn ang="0">
                    <a:pos x="r" y="vc"/>
                  </a:cxn>
                </a:cxnLst>
                <a:rect l="l" t="t" r="r" b="b"/>
                <a:pathLst>
                  <a:path w="29" h="29">
                    <a:moveTo>
                      <a:pt x="26" y="5"/>
                    </a:moveTo>
                    <a:cubicBezTo>
                      <a:pt x="31" y="11"/>
                      <a:pt x="29" y="20"/>
                      <a:pt x="23" y="26"/>
                    </a:cubicBezTo>
                    <a:cubicBezTo>
                      <a:pt x="17" y="30"/>
                      <a:pt x="8" y="29"/>
                      <a:pt x="2" y="23"/>
                    </a:cubicBezTo>
                    <a:cubicBezTo>
                      <a:pt x="-2" y="16"/>
                      <a:pt x="-1" y="7"/>
                      <a:pt x="6" y="2"/>
                    </a:cubicBezTo>
                    <a:cubicBezTo>
                      <a:pt x="12" y="-2"/>
                      <a:pt x="21" y="-1"/>
                      <a:pt x="26" y="5"/>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7" name="Freeform: Shape 6633">
                <a:extLst>
                  <a:ext uri="{FF2B5EF4-FFF2-40B4-BE49-F238E27FC236}">
                    <a16:creationId xmlns:a16="http://schemas.microsoft.com/office/drawing/2014/main" id="{500722E7-3169-4B3E-BC2A-34FDBFD2A017}"/>
                  </a:ext>
                </a:extLst>
              </p:cNvPr>
              <p:cNvSpPr/>
              <p:nvPr/>
            </p:nvSpPr>
            <p:spPr>
              <a:xfrm>
                <a:off x="12698276" y="4161258"/>
                <a:ext cx="88112" cy="88112"/>
              </a:xfrm>
              <a:custGeom>
                <a:avLst/>
                <a:gdLst/>
                <a:ahLst/>
                <a:cxnLst>
                  <a:cxn ang="3cd4">
                    <a:pos x="hc" y="t"/>
                  </a:cxn>
                  <a:cxn ang="cd2">
                    <a:pos x="l" y="vc"/>
                  </a:cxn>
                  <a:cxn ang="cd4">
                    <a:pos x="hc" y="b"/>
                  </a:cxn>
                  <a:cxn ang="0">
                    <a:pos x="r" y="vc"/>
                  </a:cxn>
                </a:cxnLst>
                <a:rect l="l" t="t" r="r" b="b"/>
                <a:pathLst>
                  <a:path w="29" h="29">
                    <a:moveTo>
                      <a:pt x="25" y="4"/>
                    </a:moveTo>
                    <a:cubicBezTo>
                      <a:pt x="31" y="10"/>
                      <a:pt x="31" y="19"/>
                      <a:pt x="25" y="25"/>
                    </a:cubicBezTo>
                    <a:cubicBezTo>
                      <a:pt x="19" y="30"/>
                      <a:pt x="10" y="30"/>
                      <a:pt x="4" y="25"/>
                    </a:cubicBezTo>
                    <a:cubicBezTo>
                      <a:pt x="-1" y="19"/>
                      <a:pt x="-1" y="10"/>
                      <a:pt x="4" y="4"/>
                    </a:cubicBezTo>
                    <a:cubicBezTo>
                      <a:pt x="10" y="-1"/>
                      <a:pt x="19" y="-1"/>
                      <a:pt x="25"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8" name="Freeform: Shape 6634">
                <a:extLst>
                  <a:ext uri="{FF2B5EF4-FFF2-40B4-BE49-F238E27FC236}">
                    <a16:creationId xmlns:a16="http://schemas.microsoft.com/office/drawing/2014/main" id="{CAD3CF9D-E936-4C9F-841E-DA4F99D434BE}"/>
                  </a:ext>
                </a:extLst>
              </p:cNvPr>
              <p:cNvSpPr/>
              <p:nvPr/>
            </p:nvSpPr>
            <p:spPr>
              <a:xfrm>
                <a:off x="12559815" y="4318600"/>
                <a:ext cx="88112" cy="88112"/>
              </a:xfrm>
              <a:custGeom>
                <a:avLst/>
                <a:gdLst/>
                <a:ahLst/>
                <a:cxnLst>
                  <a:cxn ang="3cd4">
                    <a:pos x="hc" y="t"/>
                  </a:cxn>
                  <a:cxn ang="cd2">
                    <a:pos x="l" y="vc"/>
                  </a:cxn>
                  <a:cxn ang="cd4">
                    <a:pos x="hc" y="b"/>
                  </a:cxn>
                  <a:cxn ang="0">
                    <a:pos x="r" y="vc"/>
                  </a:cxn>
                </a:cxnLst>
                <a:rect l="l" t="t" r="r" b="b"/>
                <a:pathLst>
                  <a:path w="29" h="29">
                    <a:moveTo>
                      <a:pt x="24" y="3"/>
                    </a:moveTo>
                    <a:cubicBezTo>
                      <a:pt x="30" y="7"/>
                      <a:pt x="32" y="17"/>
                      <a:pt x="26" y="23"/>
                    </a:cubicBezTo>
                    <a:cubicBezTo>
                      <a:pt x="22" y="29"/>
                      <a:pt x="13" y="30"/>
                      <a:pt x="6" y="26"/>
                    </a:cubicBezTo>
                    <a:cubicBezTo>
                      <a:pt x="0" y="21"/>
                      <a:pt x="-2" y="12"/>
                      <a:pt x="3" y="5"/>
                    </a:cubicBezTo>
                    <a:cubicBezTo>
                      <a:pt x="8" y="-1"/>
                      <a:pt x="18" y="-2"/>
                      <a:pt x="24"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9" name="Freeform: Shape 6635">
                <a:extLst>
                  <a:ext uri="{FF2B5EF4-FFF2-40B4-BE49-F238E27FC236}">
                    <a16:creationId xmlns:a16="http://schemas.microsoft.com/office/drawing/2014/main" id="{2EDC290C-3CA3-460E-AFE9-56480B41AED2}"/>
                  </a:ext>
                </a:extLst>
              </p:cNvPr>
              <p:cNvSpPr/>
              <p:nvPr/>
            </p:nvSpPr>
            <p:spPr>
              <a:xfrm>
                <a:off x="12698276" y="4161258"/>
                <a:ext cx="88112" cy="88112"/>
              </a:xfrm>
              <a:custGeom>
                <a:avLst/>
                <a:gdLst/>
                <a:ahLst/>
                <a:cxnLst>
                  <a:cxn ang="3cd4">
                    <a:pos x="hc" y="t"/>
                  </a:cxn>
                  <a:cxn ang="cd2">
                    <a:pos x="l" y="vc"/>
                  </a:cxn>
                  <a:cxn ang="cd4">
                    <a:pos x="hc" y="b"/>
                  </a:cxn>
                  <a:cxn ang="0">
                    <a:pos x="r" y="vc"/>
                  </a:cxn>
                </a:cxnLst>
                <a:rect l="l" t="t" r="r" b="b"/>
                <a:pathLst>
                  <a:path w="29" h="29">
                    <a:moveTo>
                      <a:pt x="25" y="4"/>
                    </a:moveTo>
                    <a:cubicBezTo>
                      <a:pt x="31" y="10"/>
                      <a:pt x="31" y="19"/>
                      <a:pt x="25" y="25"/>
                    </a:cubicBezTo>
                    <a:cubicBezTo>
                      <a:pt x="19" y="30"/>
                      <a:pt x="10" y="30"/>
                      <a:pt x="4" y="25"/>
                    </a:cubicBezTo>
                    <a:cubicBezTo>
                      <a:pt x="-1" y="19"/>
                      <a:pt x="-1" y="10"/>
                      <a:pt x="4" y="4"/>
                    </a:cubicBezTo>
                    <a:cubicBezTo>
                      <a:pt x="10" y="-1"/>
                      <a:pt x="19" y="-1"/>
                      <a:pt x="25"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0" name="Freeform: Shape 6636">
                <a:extLst>
                  <a:ext uri="{FF2B5EF4-FFF2-40B4-BE49-F238E27FC236}">
                    <a16:creationId xmlns:a16="http://schemas.microsoft.com/office/drawing/2014/main" id="{A2652A78-1F67-47A6-AF3F-05D7BAB0741D}"/>
                  </a:ext>
                </a:extLst>
              </p:cNvPr>
              <p:cNvSpPr/>
              <p:nvPr/>
            </p:nvSpPr>
            <p:spPr>
              <a:xfrm>
                <a:off x="12559815" y="4318600"/>
                <a:ext cx="88112" cy="88112"/>
              </a:xfrm>
              <a:custGeom>
                <a:avLst/>
                <a:gdLst/>
                <a:ahLst/>
                <a:cxnLst>
                  <a:cxn ang="3cd4">
                    <a:pos x="hc" y="t"/>
                  </a:cxn>
                  <a:cxn ang="cd2">
                    <a:pos x="l" y="vc"/>
                  </a:cxn>
                  <a:cxn ang="cd4">
                    <a:pos x="hc" y="b"/>
                  </a:cxn>
                  <a:cxn ang="0">
                    <a:pos x="r" y="vc"/>
                  </a:cxn>
                </a:cxnLst>
                <a:rect l="l" t="t" r="r" b="b"/>
                <a:pathLst>
                  <a:path w="29" h="29">
                    <a:moveTo>
                      <a:pt x="24" y="3"/>
                    </a:moveTo>
                    <a:cubicBezTo>
                      <a:pt x="30" y="7"/>
                      <a:pt x="32" y="17"/>
                      <a:pt x="26" y="23"/>
                    </a:cubicBezTo>
                    <a:cubicBezTo>
                      <a:pt x="22" y="29"/>
                      <a:pt x="13" y="30"/>
                      <a:pt x="6" y="26"/>
                    </a:cubicBezTo>
                    <a:cubicBezTo>
                      <a:pt x="0" y="21"/>
                      <a:pt x="-2" y="12"/>
                      <a:pt x="3" y="5"/>
                    </a:cubicBezTo>
                    <a:cubicBezTo>
                      <a:pt x="8" y="-1"/>
                      <a:pt x="18" y="-2"/>
                      <a:pt x="24"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1" name="Freeform: Shape 6637">
                <a:extLst>
                  <a:ext uri="{FF2B5EF4-FFF2-40B4-BE49-F238E27FC236}">
                    <a16:creationId xmlns:a16="http://schemas.microsoft.com/office/drawing/2014/main" id="{36838703-BFDD-44B6-923D-891DE2B16458}"/>
                  </a:ext>
                </a:extLst>
              </p:cNvPr>
              <p:cNvSpPr/>
              <p:nvPr/>
            </p:nvSpPr>
            <p:spPr>
              <a:xfrm>
                <a:off x="14026235" y="3711259"/>
                <a:ext cx="88112" cy="88112"/>
              </a:xfrm>
              <a:custGeom>
                <a:avLst/>
                <a:gdLst/>
                <a:ahLst/>
                <a:cxnLst>
                  <a:cxn ang="3cd4">
                    <a:pos x="hc" y="t"/>
                  </a:cxn>
                  <a:cxn ang="cd2">
                    <a:pos x="l" y="vc"/>
                  </a:cxn>
                  <a:cxn ang="cd4">
                    <a:pos x="hc" y="b"/>
                  </a:cxn>
                  <a:cxn ang="0">
                    <a:pos x="r" y="vc"/>
                  </a:cxn>
                </a:cxnLst>
                <a:rect l="l" t="t" r="r" b="b"/>
                <a:pathLst>
                  <a:path w="29" h="29">
                    <a:moveTo>
                      <a:pt x="0" y="12"/>
                    </a:moveTo>
                    <a:cubicBezTo>
                      <a:pt x="-1" y="20"/>
                      <a:pt x="5" y="27"/>
                      <a:pt x="13" y="28"/>
                    </a:cubicBezTo>
                    <a:cubicBezTo>
                      <a:pt x="20" y="29"/>
                      <a:pt x="28" y="24"/>
                      <a:pt x="29" y="16"/>
                    </a:cubicBezTo>
                    <a:cubicBezTo>
                      <a:pt x="30" y="8"/>
                      <a:pt x="24" y="1"/>
                      <a:pt x="16" y="0"/>
                    </a:cubicBezTo>
                    <a:cubicBezTo>
                      <a:pt x="8" y="-2"/>
                      <a:pt x="1" y="4"/>
                      <a:pt x="0"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2" name="Freeform: Shape 6638">
                <a:extLst>
                  <a:ext uri="{FF2B5EF4-FFF2-40B4-BE49-F238E27FC236}">
                    <a16:creationId xmlns:a16="http://schemas.microsoft.com/office/drawing/2014/main" id="{1590669D-492A-40FD-B596-7B2D1EA884B7}"/>
                  </a:ext>
                </a:extLst>
              </p:cNvPr>
              <p:cNvSpPr/>
              <p:nvPr/>
            </p:nvSpPr>
            <p:spPr>
              <a:xfrm>
                <a:off x="14230789" y="3752168"/>
                <a:ext cx="88112" cy="88112"/>
              </a:xfrm>
              <a:custGeom>
                <a:avLst/>
                <a:gdLst/>
                <a:ahLst/>
                <a:cxnLst>
                  <a:cxn ang="3cd4">
                    <a:pos x="hc" y="t"/>
                  </a:cxn>
                  <a:cxn ang="cd2">
                    <a:pos x="l" y="vc"/>
                  </a:cxn>
                  <a:cxn ang="cd4">
                    <a:pos x="hc" y="b"/>
                  </a:cxn>
                  <a:cxn ang="0">
                    <a:pos x="r" y="vc"/>
                  </a:cxn>
                </a:cxnLst>
                <a:rect l="l" t="t" r="r" b="b"/>
                <a:pathLst>
                  <a:path w="29" h="29">
                    <a:moveTo>
                      <a:pt x="0" y="11"/>
                    </a:moveTo>
                    <a:cubicBezTo>
                      <a:pt x="-2" y="19"/>
                      <a:pt x="3" y="27"/>
                      <a:pt x="10" y="29"/>
                    </a:cubicBezTo>
                    <a:cubicBezTo>
                      <a:pt x="18" y="31"/>
                      <a:pt x="26" y="26"/>
                      <a:pt x="28" y="19"/>
                    </a:cubicBezTo>
                    <a:cubicBezTo>
                      <a:pt x="30" y="11"/>
                      <a:pt x="26" y="3"/>
                      <a:pt x="18" y="1"/>
                    </a:cubicBezTo>
                    <a:cubicBezTo>
                      <a:pt x="10" y="-1"/>
                      <a:pt x="2" y="3"/>
                      <a:pt x="0"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3" name="Freeform: Shape 6639">
                <a:extLst>
                  <a:ext uri="{FF2B5EF4-FFF2-40B4-BE49-F238E27FC236}">
                    <a16:creationId xmlns:a16="http://schemas.microsoft.com/office/drawing/2014/main" id="{67AF3BA0-789F-44E0-B7D7-A11DBD7040EF}"/>
                  </a:ext>
                </a:extLst>
              </p:cNvPr>
              <p:cNvSpPr/>
              <p:nvPr/>
            </p:nvSpPr>
            <p:spPr>
              <a:xfrm>
                <a:off x="14425893" y="3815105"/>
                <a:ext cx="88112" cy="88112"/>
              </a:xfrm>
              <a:custGeom>
                <a:avLst/>
                <a:gdLst/>
                <a:ahLst/>
                <a:cxnLst>
                  <a:cxn ang="3cd4">
                    <a:pos x="hc" y="t"/>
                  </a:cxn>
                  <a:cxn ang="cd2">
                    <a:pos x="l" y="vc"/>
                  </a:cxn>
                  <a:cxn ang="cd4">
                    <a:pos x="hc" y="b"/>
                  </a:cxn>
                  <a:cxn ang="0">
                    <a:pos x="r" y="vc"/>
                  </a:cxn>
                </a:cxnLst>
                <a:rect l="l" t="t" r="r" b="b"/>
                <a:pathLst>
                  <a:path w="29" h="29">
                    <a:moveTo>
                      <a:pt x="1" y="10"/>
                    </a:moveTo>
                    <a:cubicBezTo>
                      <a:pt x="-2" y="17"/>
                      <a:pt x="2" y="26"/>
                      <a:pt x="9" y="28"/>
                    </a:cubicBezTo>
                    <a:cubicBezTo>
                      <a:pt x="17" y="31"/>
                      <a:pt x="25" y="28"/>
                      <a:pt x="28" y="20"/>
                    </a:cubicBezTo>
                    <a:cubicBezTo>
                      <a:pt x="31" y="13"/>
                      <a:pt x="28" y="4"/>
                      <a:pt x="20" y="1"/>
                    </a:cubicBezTo>
                    <a:cubicBezTo>
                      <a:pt x="13" y="-2"/>
                      <a:pt x="4" y="2"/>
                      <a:pt x="1" y="10"/>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4" name="Freeform: Shape 6640">
                <a:extLst>
                  <a:ext uri="{FF2B5EF4-FFF2-40B4-BE49-F238E27FC236}">
                    <a16:creationId xmlns:a16="http://schemas.microsoft.com/office/drawing/2014/main" id="{FB06F0D2-E99B-4CCC-82D9-1016EAB119A6}"/>
                  </a:ext>
                </a:extLst>
              </p:cNvPr>
              <p:cNvSpPr/>
              <p:nvPr/>
            </p:nvSpPr>
            <p:spPr>
              <a:xfrm>
                <a:off x="14614695" y="3909502"/>
                <a:ext cx="88112" cy="88112"/>
              </a:xfrm>
              <a:custGeom>
                <a:avLst/>
                <a:gdLst/>
                <a:ahLst/>
                <a:cxnLst>
                  <a:cxn ang="3cd4">
                    <a:pos x="hc" y="t"/>
                  </a:cxn>
                  <a:cxn ang="cd2">
                    <a:pos x="l" y="vc"/>
                  </a:cxn>
                  <a:cxn ang="cd4">
                    <a:pos x="hc" y="b"/>
                  </a:cxn>
                  <a:cxn ang="0">
                    <a:pos x="r" y="vc"/>
                  </a:cxn>
                </a:cxnLst>
                <a:rect l="l" t="t" r="r" b="b"/>
                <a:pathLst>
                  <a:path w="29" h="29">
                    <a:moveTo>
                      <a:pt x="1" y="7"/>
                    </a:moveTo>
                    <a:cubicBezTo>
                      <a:pt x="-2" y="14"/>
                      <a:pt x="0" y="23"/>
                      <a:pt x="6" y="27"/>
                    </a:cubicBezTo>
                    <a:cubicBezTo>
                      <a:pt x="14" y="31"/>
                      <a:pt x="22" y="29"/>
                      <a:pt x="27" y="21"/>
                    </a:cubicBezTo>
                    <a:cubicBezTo>
                      <a:pt x="31" y="14"/>
                      <a:pt x="28" y="5"/>
                      <a:pt x="21" y="1"/>
                    </a:cubicBezTo>
                    <a:cubicBezTo>
                      <a:pt x="14" y="-2"/>
                      <a:pt x="5" y="0"/>
                      <a:pt x="1"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5" name="Freeform: Shape 6641">
                <a:extLst>
                  <a:ext uri="{FF2B5EF4-FFF2-40B4-BE49-F238E27FC236}">
                    <a16:creationId xmlns:a16="http://schemas.microsoft.com/office/drawing/2014/main" id="{A2D34F2C-01E4-4CDF-8829-CACBB852DA47}"/>
                  </a:ext>
                </a:extLst>
              </p:cNvPr>
              <p:cNvSpPr/>
              <p:nvPr/>
            </p:nvSpPr>
            <p:spPr>
              <a:xfrm>
                <a:off x="14787780" y="4025935"/>
                <a:ext cx="88112" cy="88112"/>
              </a:xfrm>
              <a:custGeom>
                <a:avLst/>
                <a:gdLst/>
                <a:ahLst/>
                <a:cxnLst>
                  <a:cxn ang="3cd4">
                    <a:pos x="hc" y="t"/>
                  </a:cxn>
                  <a:cxn ang="cd2">
                    <a:pos x="l" y="vc"/>
                  </a:cxn>
                  <a:cxn ang="cd4">
                    <a:pos x="hc" y="b"/>
                  </a:cxn>
                  <a:cxn ang="0">
                    <a:pos x="r" y="vc"/>
                  </a:cxn>
                </a:cxnLst>
                <a:rect l="l" t="t" r="r" b="b"/>
                <a:pathLst>
                  <a:path w="29" h="29">
                    <a:moveTo>
                      <a:pt x="2" y="5"/>
                    </a:moveTo>
                    <a:cubicBezTo>
                      <a:pt x="-2" y="11"/>
                      <a:pt x="-1" y="20"/>
                      <a:pt x="5" y="26"/>
                    </a:cubicBezTo>
                    <a:cubicBezTo>
                      <a:pt x="11" y="30"/>
                      <a:pt x="21" y="29"/>
                      <a:pt x="25" y="23"/>
                    </a:cubicBezTo>
                    <a:cubicBezTo>
                      <a:pt x="30" y="16"/>
                      <a:pt x="29" y="7"/>
                      <a:pt x="23" y="2"/>
                    </a:cubicBezTo>
                    <a:cubicBezTo>
                      <a:pt x="16" y="-2"/>
                      <a:pt x="7" y="-1"/>
                      <a:pt x="2" y="5"/>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6" name="Freeform: Shape 6642">
                <a:extLst>
                  <a:ext uri="{FF2B5EF4-FFF2-40B4-BE49-F238E27FC236}">
                    <a16:creationId xmlns:a16="http://schemas.microsoft.com/office/drawing/2014/main" id="{6B2005F6-1FBD-4E21-8FBB-B4FBFDB58B05}"/>
                  </a:ext>
                </a:extLst>
              </p:cNvPr>
              <p:cNvSpPr/>
              <p:nvPr/>
            </p:nvSpPr>
            <p:spPr>
              <a:xfrm>
                <a:off x="14941975" y="4161258"/>
                <a:ext cx="91258" cy="88112"/>
              </a:xfrm>
              <a:custGeom>
                <a:avLst/>
                <a:gdLst/>
                <a:ahLst/>
                <a:cxnLst>
                  <a:cxn ang="3cd4">
                    <a:pos x="hc" y="t"/>
                  </a:cxn>
                  <a:cxn ang="cd2">
                    <a:pos x="l" y="vc"/>
                  </a:cxn>
                  <a:cxn ang="cd4">
                    <a:pos x="hc" y="b"/>
                  </a:cxn>
                  <a:cxn ang="0">
                    <a:pos x="r" y="vc"/>
                  </a:cxn>
                </a:cxnLst>
                <a:rect l="l" t="t" r="r" b="b"/>
                <a:pathLst>
                  <a:path w="30" h="29">
                    <a:moveTo>
                      <a:pt x="4" y="4"/>
                    </a:moveTo>
                    <a:cubicBezTo>
                      <a:pt x="-1" y="10"/>
                      <a:pt x="-1" y="19"/>
                      <a:pt x="4" y="25"/>
                    </a:cubicBezTo>
                    <a:cubicBezTo>
                      <a:pt x="10" y="30"/>
                      <a:pt x="19" y="30"/>
                      <a:pt x="25" y="25"/>
                    </a:cubicBezTo>
                    <a:cubicBezTo>
                      <a:pt x="31" y="19"/>
                      <a:pt x="31" y="10"/>
                      <a:pt x="25" y="4"/>
                    </a:cubicBezTo>
                    <a:cubicBezTo>
                      <a:pt x="19" y="-1"/>
                      <a:pt x="10" y="-1"/>
                      <a:pt x="4"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7" name="Freeform: Shape 6643">
                <a:extLst>
                  <a:ext uri="{FF2B5EF4-FFF2-40B4-BE49-F238E27FC236}">
                    <a16:creationId xmlns:a16="http://schemas.microsoft.com/office/drawing/2014/main" id="{8B8224C5-08E5-4781-8C72-C487E7EA2AAF}"/>
                  </a:ext>
                </a:extLst>
              </p:cNvPr>
              <p:cNvSpPr/>
              <p:nvPr/>
            </p:nvSpPr>
            <p:spPr>
              <a:xfrm>
                <a:off x="15080436" y="4318600"/>
                <a:ext cx="88112" cy="88112"/>
              </a:xfrm>
              <a:custGeom>
                <a:avLst/>
                <a:gdLst/>
                <a:ahLst/>
                <a:cxnLst>
                  <a:cxn ang="3cd4">
                    <a:pos x="hc" y="t"/>
                  </a:cxn>
                  <a:cxn ang="cd2">
                    <a:pos x="l" y="vc"/>
                  </a:cxn>
                  <a:cxn ang="cd4">
                    <a:pos x="hc" y="b"/>
                  </a:cxn>
                  <a:cxn ang="0">
                    <a:pos x="r" y="vc"/>
                  </a:cxn>
                </a:cxnLst>
                <a:rect l="l" t="t" r="r" b="b"/>
                <a:pathLst>
                  <a:path w="29" h="29">
                    <a:moveTo>
                      <a:pt x="5" y="3"/>
                    </a:moveTo>
                    <a:cubicBezTo>
                      <a:pt x="-1" y="7"/>
                      <a:pt x="-2" y="17"/>
                      <a:pt x="2" y="23"/>
                    </a:cubicBezTo>
                    <a:cubicBezTo>
                      <a:pt x="8" y="29"/>
                      <a:pt x="17" y="30"/>
                      <a:pt x="23" y="26"/>
                    </a:cubicBezTo>
                    <a:cubicBezTo>
                      <a:pt x="29" y="21"/>
                      <a:pt x="30" y="12"/>
                      <a:pt x="26" y="5"/>
                    </a:cubicBezTo>
                    <a:cubicBezTo>
                      <a:pt x="20" y="-1"/>
                      <a:pt x="12" y="-2"/>
                      <a:pt x="5"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sp>
          <p:nvSpPr>
            <p:cNvPr id="127" name="Freeform: Shape 6809">
              <a:extLst>
                <a:ext uri="{FF2B5EF4-FFF2-40B4-BE49-F238E27FC236}">
                  <a16:creationId xmlns:a16="http://schemas.microsoft.com/office/drawing/2014/main" id="{11F9B6DA-F714-48C0-AB33-2814EB3AB0D3}"/>
                </a:ext>
              </a:extLst>
            </p:cNvPr>
            <p:cNvSpPr/>
            <p:nvPr/>
          </p:nvSpPr>
          <p:spPr>
            <a:xfrm>
              <a:off x="6894988" y="3032624"/>
              <a:ext cx="1048172" cy="1167390"/>
            </a:xfrm>
            <a:custGeom>
              <a:avLst/>
              <a:gdLst/>
              <a:ahLst/>
              <a:cxnLst>
                <a:cxn ang="3cd4">
                  <a:pos x="hc" y="t"/>
                </a:cxn>
                <a:cxn ang="cd2">
                  <a:pos x="l" y="vc"/>
                </a:cxn>
                <a:cxn ang="cd4">
                  <a:pos x="hc" y="b"/>
                </a:cxn>
                <a:cxn ang="0">
                  <a:pos x="r" y="vc"/>
                </a:cxn>
              </a:cxnLst>
              <a:rect l="l" t="t" r="r" b="b"/>
              <a:pathLst>
                <a:path w="889" h="990">
                  <a:moveTo>
                    <a:pt x="889" y="0"/>
                  </a:moveTo>
                  <a:cubicBezTo>
                    <a:pt x="889" y="246"/>
                    <a:pt x="690" y="445"/>
                    <a:pt x="445" y="445"/>
                  </a:cubicBezTo>
                  <a:cubicBezTo>
                    <a:pt x="199" y="445"/>
                    <a:pt x="0" y="246"/>
                    <a:pt x="0" y="0"/>
                  </a:cubicBezTo>
                  <a:lnTo>
                    <a:pt x="0" y="990"/>
                  </a:lnTo>
                  <a:cubicBezTo>
                    <a:pt x="0" y="744"/>
                    <a:pt x="199" y="545"/>
                    <a:pt x="445" y="545"/>
                  </a:cubicBezTo>
                  <a:cubicBezTo>
                    <a:pt x="559" y="545"/>
                    <a:pt x="664" y="588"/>
                    <a:pt x="743" y="660"/>
                  </a:cubicBezTo>
                  <a:lnTo>
                    <a:pt x="889" y="745"/>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28" name="Freeform: Shape 6810">
              <a:extLst>
                <a:ext uri="{FF2B5EF4-FFF2-40B4-BE49-F238E27FC236}">
                  <a16:creationId xmlns:a16="http://schemas.microsoft.com/office/drawing/2014/main" id="{E522C6D7-966E-42AB-8411-3367926A28BD}"/>
                </a:ext>
              </a:extLst>
            </p:cNvPr>
            <p:cNvSpPr/>
            <p:nvPr/>
          </p:nvSpPr>
          <p:spPr>
            <a:xfrm>
              <a:off x="7419075" y="3811671"/>
              <a:ext cx="1248835" cy="1442417"/>
            </a:xfrm>
            <a:custGeom>
              <a:avLst/>
              <a:gdLst/>
              <a:ahLst/>
              <a:cxnLst>
                <a:cxn ang="3cd4">
                  <a:pos x="hc" y="t"/>
                </a:cxn>
                <a:cxn ang="cd2">
                  <a:pos x="l" y="vc"/>
                </a:cxn>
                <a:cxn ang="cd4">
                  <a:pos x="hc" y="b"/>
                </a:cxn>
                <a:cxn ang="0">
                  <a:pos x="r" y="vc"/>
                </a:cxn>
              </a:cxnLst>
              <a:rect l="l" t="t" r="r" b="b"/>
              <a:pathLst>
                <a:path w="1059" h="1223">
                  <a:moveTo>
                    <a:pt x="1059" y="439"/>
                  </a:moveTo>
                  <a:lnTo>
                    <a:pt x="299" y="0"/>
                  </a:lnTo>
                  <a:cubicBezTo>
                    <a:pt x="389" y="82"/>
                    <a:pt x="445" y="199"/>
                    <a:pt x="445" y="330"/>
                  </a:cubicBezTo>
                  <a:cubicBezTo>
                    <a:pt x="445" y="495"/>
                    <a:pt x="355" y="639"/>
                    <a:pt x="222" y="716"/>
                  </a:cubicBezTo>
                  <a:lnTo>
                    <a:pt x="0" y="846"/>
                  </a:lnTo>
                  <a:lnTo>
                    <a:pt x="638" y="1223"/>
                  </a:lnTo>
                  <a:lnTo>
                    <a:pt x="639" y="1222"/>
                  </a:lnTo>
                  <a:cubicBezTo>
                    <a:pt x="638" y="1222"/>
                    <a:pt x="637" y="1221"/>
                    <a:pt x="636" y="1221"/>
                  </a:cubicBezTo>
                  <a:cubicBezTo>
                    <a:pt x="424" y="1098"/>
                    <a:pt x="351" y="826"/>
                    <a:pt x="474" y="614"/>
                  </a:cubicBezTo>
                  <a:cubicBezTo>
                    <a:pt x="592" y="409"/>
                    <a:pt x="850" y="333"/>
                    <a:pt x="1059" y="439"/>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29" name="Freeform: Shape 6811">
              <a:extLst>
                <a:ext uri="{FF2B5EF4-FFF2-40B4-BE49-F238E27FC236}">
                  <a16:creationId xmlns:a16="http://schemas.microsoft.com/office/drawing/2014/main" id="{55D62888-B24C-430F-BB43-C57A8ECAAB02}"/>
                </a:ext>
              </a:extLst>
            </p:cNvPr>
            <p:cNvSpPr/>
            <p:nvPr/>
          </p:nvSpPr>
          <p:spPr>
            <a:xfrm>
              <a:off x="7154671" y="3773898"/>
              <a:ext cx="657468" cy="316340"/>
            </a:xfrm>
            <a:custGeom>
              <a:avLst/>
              <a:gdLst/>
              <a:ahLst/>
              <a:cxnLst>
                <a:cxn ang="3cd4">
                  <a:pos x="hc" y="t"/>
                </a:cxn>
                <a:cxn ang="cd2">
                  <a:pos x="l" y="vc"/>
                </a:cxn>
                <a:cxn ang="cd4">
                  <a:pos x="hc" y="b"/>
                </a:cxn>
                <a:cxn ang="0">
                  <a:pos x="r" y="vc"/>
                </a:cxn>
              </a:cxnLst>
              <a:rect l="l" t="t" r="r" b="b"/>
              <a:pathLst>
                <a:path w="558" h="269">
                  <a:moveTo>
                    <a:pt x="83" y="118"/>
                  </a:moveTo>
                  <a:cubicBezTo>
                    <a:pt x="217" y="40"/>
                    <a:pt x="390" y="87"/>
                    <a:pt x="467" y="221"/>
                  </a:cubicBezTo>
                  <a:cubicBezTo>
                    <a:pt x="473" y="232"/>
                    <a:pt x="478" y="242"/>
                    <a:pt x="483" y="253"/>
                  </a:cubicBezTo>
                  <a:lnTo>
                    <a:pt x="535" y="269"/>
                  </a:lnTo>
                  <a:lnTo>
                    <a:pt x="558" y="221"/>
                  </a:lnTo>
                  <a:cubicBezTo>
                    <a:pt x="503" y="91"/>
                    <a:pt x="375" y="0"/>
                    <a:pt x="225" y="0"/>
                  </a:cubicBezTo>
                  <a:cubicBezTo>
                    <a:pt x="140" y="0"/>
                    <a:pt x="62" y="29"/>
                    <a:pt x="0" y="78"/>
                  </a:cubicBezTo>
                  <a:lnTo>
                    <a:pt x="51" y="87"/>
                  </a:lnTo>
                  <a:lnTo>
                    <a:pt x="51" y="140"/>
                  </a:lnTo>
                  <a:cubicBezTo>
                    <a:pt x="61" y="132"/>
                    <a:pt x="72" y="125"/>
                    <a:pt x="83" y="118"/>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30" name="Freeform: Shape 6812">
              <a:extLst>
                <a:ext uri="{FF2B5EF4-FFF2-40B4-BE49-F238E27FC236}">
                  <a16:creationId xmlns:a16="http://schemas.microsoft.com/office/drawing/2014/main" id="{29FD756C-2152-48C8-A775-A6B65E0800FA}"/>
                </a:ext>
              </a:extLst>
            </p:cNvPr>
            <p:cNvSpPr/>
            <p:nvPr/>
          </p:nvSpPr>
          <p:spPr>
            <a:xfrm>
              <a:off x="6991779" y="3937972"/>
              <a:ext cx="302176" cy="658649"/>
            </a:xfrm>
            <a:custGeom>
              <a:avLst/>
              <a:gdLst/>
              <a:ahLst/>
              <a:cxnLst>
                <a:cxn ang="3cd4">
                  <a:pos x="hc" y="t"/>
                </a:cxn>
                <a:cxn ang="cd2">
                  <a:pos x="l" y="vc"/>
                </a:cxn>
                <a:cxn ang="cd4">
                  <a:pos x="hc" y="b"/>
                </a:cxn>
                <a:cxn ang="0">
                  <a:pos x="r" y="vc"/>
                </a:cxn>
              </a:cxnLst>
              <a:rect l="l" t="t" r="r" b="b"/>
              <a:pathLst>
                <a:path w="257" h="559">
                  <a:moveTo>
                    <a:pt x="222" y="467"/>
                  </a:moveTo>
                  <a:cubicBezTo>
                    <a:pt x="87" y="389"/>
                    <a:pt x="41" y="218"/>
                    <a:pt x="119" y="83"/>
                  </a:cubicBezTo>
                  <a:cubicBezTo>
                    <a:pt x="125" y="73"/>
                    <a:pt x="132" y="63"/>
                    <a:pt x="138" y="53"/>
                  </a:cubicBezTo>
                  <a:lnTo>
                    <a:pt x="126" y="0"/>
                  </a:lnTo>
                  <a:lnTo>
                    <a:pt x="73" y="5"/>
                  </a:lnTo>
                  <a:cubicBezTo>
                    <a:pt x="-12" y="117"/>
                    <a:pt x="-27" y="274"/>
                    <a:pt x="49" y="404"/>
                  </a:cubicBezTo>
                  <a:cubicBezTo>
                    <a:pt x="91" y="477"/>
                    <a:pt x="155" y="530"/>
                    <a:pt x="228" y="559"/>
                  </a:cubicBezTo>
                  <a:lnTo>
                    <a:pt x="210" y="511"/>
                  </a:lnTo>
                  <a:lnTo>
                    <a:pt x="257" y="484"/>
                  </a:lnTo>
                  <a:cubicBezTo>
                    <a:pt x="245" y="479"/>
                    <a:pt x="233" y="474"/>
                    <a:pt x="222" y="467"/>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31" name="Freeform: Shape 6813">
              <a:extLst>
                <a:ext uri="{FF2B5EF4-FFF2-40B4-BE49-F238E27FC236}">
                  <a16:creationId xmlns:a16="http://schemas.microsoft.com/office/drawing/2014/main" id="{696D7592-0854-4B1C-8118-A0D5C682DA2F}"/>
                </a:ext>
              </a:extLst>
            </p:cNvPr>
            <p:cNvSpPr/>
            <p:nvPr/>
          </p:nvSpPr>
          <p:spPr>
            <a:xfrm>
              <a:off x="7331728" y="4138635"/>
              <a:ext cx="515823" cy="488675"/>
            </a:xfrm>
            <a:custGeom>
              <a:avLst/>
              <a:gdLst/>
              <a:ahLst/>
              <a:cxnLst>
                <a:cxn ang="3cd4">
                  <a:pos x="hc" y="t"/>
                </a:cxn>
                <a:cxn ang="cd2">
                  <a:pos x="l" y="vc"/>
                </a:cxn>
                <a:cxn ang="cd4">
                  <a:pos x="hc" y="b"/>
                </a:cxn>
                <a:cxn ang="0">
                  <a:pos x="r" y="vc"/>
                </a:cxn>
              </a:cxnLst>
              <a:rect l="l" t="t" r="r" b="b"/>
              <a:pathLst>
                <a:path w="438" h="415">
                  <a:moveTo>
                    <a:pt x="357" y="52"/>
                  </a:moveTo>
                  <a:cubicBezTo>
                    <a:pt x="357" y="207"/>
                    <a:pt x="231" y="333"/>
                    <a:pt x="76" y="333"/>
                  </a:cubicBezTo>
                  <a:cubicBezTo>
                    <a:pt x="64" y="333"/>
                    <a:pt x="53" y="332"/>
                    <a:pt x="41" y="331"/>
                  </a:cubicBezTo>
                  <a:lnTo>
                    <a:pt x="0" y="368"/>
                  </a:lnTo>
                  <a:lnTo>
                    <a:pt x="31" y="412"/>
                  </a:lnTo>
                  <a:cubicBezTo>
                    <a:pt x="171" y="429"/>
                    <a:pt x="314" y="363"/>
                    <a:pt x="389" y="234"/>
                  </a:cubicBezTo>
                  <a:cubicBezTo>
                    <a:pt x="432" y="160"/>
                    <a:pt x="445" y="78"/>
                    <a:pt x="434" y="0"/>
                  </a:cubicBezTo>
                  <a:lnTo>
                    <a:pt x="400" y="40"/>
                  </a:lnTo>
                  <a:lnTo>
                    <a:pt x="355" y="13"/>
                  </a:lnTo>
                  <a:cubicBezTo>
                    <a:pt x="356" y="26"/>
                    <a:pt x="357" y="39"/>
                    <a:pt x="357" y="52"/>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32" name="TextBox 368">
              <a:extLst>
                <a:ext uri="{FF2B5EF4-FFF2-40B4-BE49-F238E27FC236}">
                  <a16:creationId xmlns:a16="http://schemas.microsoft.com/office/drawing/2014/main" id="{0580F8B2-A0CE-4182-A880-39DB3C4897D9}"/>
                </a:ext>
              </a:extLst>
            </p:cNvPr>
            <p:cNvSpPr txBox="1"/>
            <p:nvPr/>
          </p:nvSpPr>
          <p:spPr>
            <a:xfrm>
              <a:off x="7027191" y="2875073"/>
              <a:ext cx="774325" cy="243013"/>
            </a:xfrm>
            <a:prstGeom prst="rect">
              <a:avLst/>
            </a:prstGeom>
            <a:noFill/>
          </p:spPr>
          <p:txBody>
            <a:bodyPr wrap="square" rtlCol="0">
              <a:spAutoFit/>
            </a:bodyPr>
            <a:lstStyle/>
            <a:p>
              <a:pPr algn="ctr"/>
              <a:r>
                <a:rPr lang="en-GB" sz="1400" b="1">
                  <a:solidFill>
                    <a:schemeClr val="bg1"/>
                  </a:solidFill>
                  <a:latin typeface="+mj-lt"/>
                  <a:ea typeface="Lato Light" charset="0"/>
                  <a:cs typeface="Lato Light" charset="0"/>
                </a:rPr>
                <a:t>Company</a:t>
              </a:r>
              <a:endParaRPr lang="en-GB" sz="1400" b="1" dirty="0">
                <a:solidFill>
                  <a:schemeClr val="bg1"/>
                </a:solidFill>
                <a:latin typeface="+mj-lt"/>
                <a:ea typeface="Lato Light" charset="0"/>
                <a:cs typeface="Lato Light" charset="0"/>
              </a:endParaRPr>
            </a:p>
          </p:txBody>
        </p:sp>
      </p:grpSp>
      <p:sp>
        <p:nvSpPr>
          <p:cNvPr id="133" name="TextBox 369">
            <a:extLst>
              <a:ext uri="{FF2B5EF4-FFF2-40B4-BE49-F238E27FC236}">
                <a16:creationId xmlns:a16="http://schemas.microsoft.com/office/drawing/2014/main" id="{68681639-C3EF-4E87-84A3-07034D47B837}"/>
              </a:ext>
            </a:extLst>
          </p:cNvPr>
          <p:cNvSpPr txBox="1"/>
          <p:nvPr/>
        </p:nvSpPr>
        <p:spPr>
          <a:xfrm>
            <a:off x="5824883" y="4858651"/>
            <a:ext cx="1047294" cy="307777"/>
          </a:xfrm>
          <a:prstGeom prst="rect">
            <a:avLst/>
          </a:prstGeom>
          <a:noFill/>
        </p:spPr>
        <p:txBody>
          <a:bodyPr wrap="square" rtlCol="0">
            <a:spAutoFit/>
          </a:bodyPr>
          <a:lstStyle/>
          <a:p>
            <a:pPr algn="ctr"/>
            <a:r>
              <a:rPr lang="en-GB" sz="1400" b="1">
                <a:solidFill>
                  <a:schemeClr val="bg1"/>
                </a:solidFill>
                <a:latin typeface="+mj-lt"/>
                <a:ea typeface="Lato Light" charset="0"/>
                <a:cs typeface="Lato Light" charset="0"/>
              </a:rPr>
              <a:t>Customer</a:t>
            </a:r>
            <a:endParaRPr lang="en-GB" sz="1400" b="1" dirty="0">
              <a:solidFill>
                <a:schemeClr val="bg1"/>
              </a:solidFill>
              <a:latin typeface="+mj-lt"/>
              <a:ea typeface="Lato Light" charset="0"/>
              <a:cs typeface="Lato Light" charset="0"/>
            </a:endParaRPr>
          </a:p>
        </p:txBody>
      </p:sp>
      <p:sp>
        <p:nvSpPr>
          <p:cNvPr id="134" name="TextBox 371">
            <a:extLst>
              <a:ext uri="{FF2B5EF4-FFF2-40B4-BE49-F238E27FC236}">
                <a16:creationId xmlns:a16="http://schemas.microsoft.com/office/drawing/2014/main" id="{1955D2B6-9E48-4BCC-99BE-E19741B5B345}"/>
              </a:ext>
            </a:extLst>
          </p:cNvPr>
          <p:cNvSpPr txBox="1"/>
          <p:nvPr/>
        </p:nvSpPr>
        <p:spPr>
          <a:xfrm>
            <a:off x="8325938" y="4735775"/>
            <a:ext cx="1201666" cy="523220"/>
          </a:xfrm>
          <a:prstGeom prst="rect">
            <a:avLst/>
          </a:prstGeom>
          <a:noFill/>
        </p:spPr>
        <p:txBody>
          <a:bodyPr wrap="square" rtlCol="0">
            <a:spAutoFit/>
          </a:bodyPr>
          <a:lstStyle/>
          <a:p>
            <a:pPr algn="ctr"/>
            <a:r>
              <a:rPr lang="en-GB" sz="1400" b="1">
                <a:solidFill>
                  <a:schemeClr val="bg1"/>
                </a:solidFill>
                <a:latin typeface="+mj-lt"/>
                <a:ea typeface="Lato Light" charset="0"/>
                <a:cs typeface="Lato Light" charset="0"/>
              </a:rPr>
              <a:t>Factoring</a:t>
            </a:r>
            <a:br>
              <a:rPr lang="en-GB" sz="1400" b="1">
                <a:solidFill>
                  <a:schemeClr val="bg1"/>
                </a:solidFill>
                <a:latin typeface="+mj-lt"/>
                <a:ea typeface="Lato Light" charset="0"/>
                <a:cs typeface="Lato Light" charset="0"/>
              </a:rPr>
            </a:br>
            <a:r>
              <a:rPr lang="en-GB" sz="1400" b="1">
                <a:solidFill>
                  <a:schemeClr val="bg1"/>
                </a:solidFill>
                <a:latin typeface="+mj-lt"/>
                <a:ea typeface="Lato Light" charset="0"/>
                <a:cs typeface="Lato Light" charset="0"/>
              </a:rPr>
              <a:t>Organization</a:t>
            </a:r>
            <a:endParaRPr lang="en-GB" sz="1400" b="1" dirty="0">
              <a:solidFill>
                <a:schemeClr val="bg1"/>
              </a:solidFill>
              <a:latin typeface="+mj-lt"/>
              <a:ea typeface="Lato Light" charset="0"/>
              <a:cs typeface="Lato Light" charset="0"/>
            </a:endParaRPr>
          </a:p>
        </p:txBody>
      </p:sp>
      <p:grpSp>
        <p:nvGrpSpPr>
          <p:cNvPr id="135" name="Gruppieren 134">
            <a:extLst>
              <a:ext uri="{FF2B5EF4-FFF2-40B4-BE49-F238E27FC236}">
                <a16:creationId xmlns:a16="http://schemas.microsoft.com/office/drawing/2014/main" id="{4BB60AF0-B219-468D-ADE5-33069B88FF3C}"/>
              </a:ext>
            </a:extLst>
          </p:cNvPr>
          <p:cNvGrpSpPr/>
          <p:nvPr/>
        </p:nvGrpSpPr>
        <p:grpSpPr>
          <a:xfrm rot="7742465">
            <a:off x="5844137" y="3058639"/>
            <a:ext cx="966322" cy="860359"/>
            <a:chOff x="2290684" y="1670769"/>
            <a:chExt cx="1808891" cy="1606818"/>
          </a:xfrm>
        </p:grpSpPr>
        <p:sp>
          <p:nvSpPr>
            <p:cNvPr id="136" name="Rounded Rectangle 60">
              <a:extLst>
                <a:ext uri="{FF2B5EF4-FFF2-40B4-BE49-F238E27FC236}">
                  <a16:creationId xmlns:a16="http://schemas.microsoft.com/office/drawing/2014/main" id="{F47E0159-B1B4-4A79-B252-4075A726FB04}"/>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7" name="Rounded Rectangle 63">
              <a:extLst>
                <a:ext uri="{FF2B5EF4-FFF2-40B4-BE49-F238E27FC236}">
                  <a16:creationId xmlns:a16="http://schemas.microsoft.com/office/drawing/2014/main" id="{BADBAB5D-368F-4F5D-9825-92566BF30655}"/>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8" name="Rounded Rectangle 62">
              <a:extLst>
                <a:ext uri="{FF2B5EF4-FFF2-40B4-BE49-F238E27FC236}">
                  <a16:creationId xmlns:a16="http://schemas.microsoft.com/office/drawing/2014/main" id="{6F79F48B-F1A4-4818-9925-C4838CB008A2}"/>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grpSp>
        <p:nvGrpSpPr>
          <p:cNvPr id="143" name="Gruppieren 142">
            <a:extLst>
              <a:ext uri="{FF2B5EF4-FFF2-40B4-BE49-F238E27FC236}">
                <a16:creationId xmlns:a16="http://schemas.microsoft.com/office/drawing/2014/main" id="{40D8F4BF-81EA-4E96-90A4-62513D5B779E}"/>
              </a:ext>
            </a:extLst>
          </p:cNvPr>
          <p:cNvGrpSpPr/>
          <p:nvPr/>
        </p:nvGrpSpPr>
        <p:grpSpPr>
          <a:xfrm rot="3514867">
            <a:off x="9149206" y="3320709"/>
            <a:ext cx="966322" cy="860358"/>
            <a:chOff x="3772626" y="2531562"/>
            <a:chExt cx="1808891" cy="1606817"/>
          </a:xfrm>
        </p:grpSpPr>
        <p:sp>
          <p:nvSpPr>
            <p:cNvPr id="144" name="Rounded Rectangle 74">
              <a:extLst>
                <a:ext uri="{FF2B5EF4-FFF2-40B4-BE49-F238E27FC236}">
                  <a16:creationId xmlns:a16="http://schemas.microsoft.com/office/drawing/2014/main" id="{3606802E-AEAC-4681-8F9B-604C8DA2775C}"/>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5" name="Rounded Rectangle 75">
              <a:extLst>
                <a:ext uri="{FF2B5EF4-FFF2-40B4-BE49-F238E27FC236}">
                  <a16:creationId xmlns:a16="http://schemas.microsoft.com/office/drawing/2014/main" id="{AC41D9B9-8F75-47D5-A2C5-98C884B1A812}"/>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6" name="Rounded Rectangle 76">
              <a:extLst>
                <a:ext uri="{FF2B5EF4-FFF2-40B4-BE49-F238E27FC236}">
                  <a16:creationId xmlns:a16="http://schemas.microsoft.com/office/drawing/2014/main" id="{C96C9F7F-0ED2-4D79-AA38-FBE311AD8A91}"/>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51" name="TextBox 99">
            <a:extLst>
              <a:ext uri="{FF2B5EF4-FFF2-40B4-BE49-F238E27FC236}">
                <a16:creationId xmlns:a16="http://schemas.microsoft.com/office/drawing/2014/main" id="{4ADB7C8C-D691-404D-9EEB-9A65BEE69228}"/>
              </a:ext>
            </a:extLst>
          </p:cNvPr>
          <p:cNvSpPr txBox="1"/>
          <p:nvPr/>
        </p:nvSpPr>
        <p:spPr>
          <a:xfrm>
            <a:off x="9928052" y="3676475"/>
            <a:ext cx="1410001" cy="311624"/>
          </a:xfrm>
          <a:prstGeom prst="rect">
            <a:avLst/>
          </a:prstGeom>
          <a:noFill/>
        </p:spPr>
        <p:txBody>
          <a:bodyPr wrap="none" rtlCol="0" anchor="ctr" anchorCtr="0">
            <a:spAutoFit/>
          </a:bodyPr>
          <a:lstStyle/>
          <a:p>
            <a:r>
              <a:rPr lang="en-GB" sz="1400" b="1" spc="113">
                <a:solidFill>
                  <a:srgbClr val="C7621B"/>
                </a:solidFill>
                <a:latin typeface="+mj-lt"/>
                <a:ea typeface="League Spartan" charset="0"/>
                <a:cs typeface="Poppins" pitchFamily="2" charset="77"/>
              </a:rPr>
              <a:t>Pays out claim</a:t>
            </a:r>
            <a:endParaRPr lang="en-GB" sz="1400" b="1" spc="113" dirty="0">
              <a:solidFill>
                <a:srgbClr val="C7621B"/>
              </a:solidFill>
              <a:latin typeface="+mj-lt"/>
              <a:ea typeface="League Spartan" charset="0"/>
              <a:cs typeface="Poppins" pitchFamily="2" charset="77"/>
            </a:endParaRPr>
          </a:p>
        </p:txBody>
      </p:sp>
      <p:sp>
        <p:nvSpPr>
          <p:cNvPr id="153" name="TextBox 99">
            <a:extLst>
              <a:ext uri="{FF2B5EF4-FFF2-40B4-BE49-F238E27FC236}">
                <a16:creationId xmlns:a16="http://schemas.microsoft.com/office/drawing/2014/main" id="{A66E9DAA-196A-4294-BF97-95436770F621}"/>
              </a:ext>
            </a:extLst>
          </p:cNvPr>
          <p:cNvSpPr txBox="1"/>
          <p:nvPr/>
        </p:nvSpPr>
        <p:spPr>
          <a:xfrm>
            <a:off x="4788495" y="2749449"/>
            <a:ext cx="1609351" cy="530915"/>
          </a:xfrm>
          <a:prstGeom prst="rect">
            <a:avLst/>
          </a:prstGeom>
          <a:noFill/>
        </p:spPr>
        <p:txBody>
          <a:bodyPr wrap="none" rtlCol="0" anchor="ctr" anchorCtr="0">
            <a:spAutoFit/>
          </a:bodyPr>
          <a:lstStyle/>
          <a:p>
            <a:r>
              <a:rPr lang="en-GB" sz="1400" b="1" spc="113">
                <a:solidFill>
                  <a:srgbClr val="395C9B"/>
                </a:solidFill>
                <a:latin typeface="+mj-lt"/>
                <a:ea typeface="League Spartan" charset="0"/>
                <a:cs typeface="Poppins" pitchFamily="2" charset="77"/>
              </a:rPr>
              <a:t>Delivers</a:t>
            </a:r>
            <a:br>
              <a:rPr lang="en-GB" sz="1400" b="1" spc="113">
                <a:solidFill>
                  <a:srgbClr val="395C9B"/>
                </a:solidFill>
                <a:latin typeface="+mj-lt"/>
                <a:ea typeface="League Spartan" charset="0"/>
                <a:cs typeface="Poppins" pitchFamily="2" charset="77"/>
              </a:rPr>
            </a:br>
            <a:r>
              <a:rPr lang="en-GB" sz="1400" b="1" spc="113">
                <a:solidFill>
                  <a:srgbClr val="395C9B"/>
                </a:solidFill>
                <a:latin typeface="+mj-lt"/>
                <a:ea typeface="League Spartan" charset="0"/>
                <a:cs typeface="Poppins" pitchFamily="2" charset="77"/>
              </a:rPr>
              <a:t>Goods / Services</a:t>
            </a:r>
            <a:endParaRPr lang="en-GB" sz="1400" b="1" spc="113" dirty="0">
              <a:solidFill>
                <a:srgbClr val="395C9B"/>
              </a:solidFill>
              <a:latin typeface="+mj-lt"/>
              <a:ea typeface="League Spartan" charset="0"/>
              <a:cs typeface="Poppins" pitchFamily="2" charset="77"/>
            </a:endParaRPr>
          </a:p>
        </p:txBody>
      </p:sp>
      <p:grpSp>
        <p:nvGrpSpPr>
          <p:cNvPr id="155" name="Gruppieren 154">
            <a:extLst>
              <a:ext uri="{FF2B5EF4-FFF2-40B4-BE49-F238E27FC236}">
                <a16:creationId xmlns:a16="http://schemas.microsoft.com/office/drawing/2014/main" id="{724520D2-34BF-455F-9C28-CA23F41F99B2}"/>
              </a:ext>
            </a:extLst>
          </p:cNvPr>
          <p:cNvGrpSpPr/>
          <p:nvPr/>
        </p:nvGrpSpPr>
        <p:grpSpPr>
          <a:xfrm rot="3325411">
            <a:off x="8367586" y="3027731"/>
            <a:ext cx="966322" cy="860359"/>
            <a:chOff x="2290684" y="1670769"/>
            <a:chExt cx="1808891" cy="1606818"/>
          </a:xfrm>
        </p:grpSpPr>
        <p:sp>
          <p:nvSpPr>
            <p:cNvPr id="156" name="Rounded Rectangle 60">
              <a:extLst>
                <a:ext uri="{FF2B5EF4-FFF2-40B4-BE49-F238E27FC236}">
                  <a16:creationId xmlns:a16="http://schemas.microsoft.com/office/drawing/2014/main" id="{B4C69D2C-3D80-4B00-999E-BF5DA0644037}"/>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7" name="Rounded Rectangle 63">
              <a:extLst>
                <a:ext uri="{FF2B5EF4-FFF2-40B4-BE49-F238E27FC236}">
                  <a16:creationId xmlns:a16="http://schemas.microsoft.com/office/drawing/2014/main" id="{EBDDB51E-E499-4B37-93CE-A3A556EB1410}"/>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8" name="Rounded Rectangle 62">
              <a:extLst>
                <a:ext uri="{FF2B5EF4-FFF2-40B4-BE49-F238E27FC236}">
                  <a16:creationId xmlns:a16="http://schemas.microsoft.com/office/drawing/2014/main" id="{6D4FE5BF-FBA3-4100-953F-C0E7FD96A8AE}"/>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59" name="TextBox 99">
            <a:extLst>
              <a:ext uri="{FF2B5EF4-FFF2-40B4-BE49-F238E27FC236}">
                <a16:creationId xmlns:a16="http://schemas.microsoft.com/office/drawing/2014/main" id="{3E12C97A-CCEE-4F1A-A196-273225CE9EEC}"/>
              </a:ext>
            </a:extLst>
          </p:cNvPr>
          <p:cNvSpPr txBox="1"/>
          <p:nvPr/>
        </p:nvSpPr>
        <p:spPr>
          <a:xfrm>
            <a:off x="8796456" y="2798034"/>
            <a:ext cx="1188915" cy="311624"/>
          </a:xfrm>
          <a:prstGeom prst="rect">
            <a:avLst/>
          </a:prstGeom>
          <a:noFill/>
        </p:spPr>
        <p:txBody>
          <a:bodyPr wrap="none" rtlCol="0" anchor="ctr" anchorCtr="0">
            <a:spAutoFit/>
          </a:bodyPr>
          <a:lstStyle/>
          <a:p>
            <a:r>
              <a:rPr lang="en-GB" sz="1400" b="1" spc="113">
                <a:solidFill>
                  <a:srgbClr val="395C9B"/>
                </a:solidFill>
                <a:latin typeface="+mj-lt"/>
                <a:ea typeface="League Spartan" charset="0"/>
                <a:cs typeface="Poppins" pitchFamily="2" charset="77"/>
              </a:rPr>
              <a:t>Sells Claims</a:t>
            </a:r>
            <a:endParaRPr lang="en-GB" sz="1400" b="1" spc="113" dirty="0">
              <a:solidFill>
                <a:srgbClr val="395C9B"/>
              </a:solidFill>
              <a:latin typeface="+mj-lt"/>
              <a:ea typeface="League Spartan" charset="0"/>
              <a:cs typeface="Poppins" pitchFamily="2" charset="77"/>
            </a:endParaRPr>
          </a:p>
        </p:txBody>
      </p:sp>
      <p:grpSp>
        <p:nvGrpSpPr>
          <p:cNvPr id="160" name="Gruppieren 159">
            <a:extLst>
              <a:ext uri="{FF2B5EF4-FFF2-40B4-BE49-F238E27FC236}">
                <a16:creationId xmlns:a16="http://schemas.microsoft.com/office/drawing/2014/main" id="{45C6A8F3-C3C0-45C2-A5C1-DB6A58947591}"/>
              </a:ext>
            </a:extLst>
          </p:cNvPr>
          <p:cNvGrpSpPr/>
          <p:nvPr/>
        </p:nvGrpSpPr>
        <p:grpSpPr>
          <a:xfrm>
            <a:off x="7204224" y="5193484"/>
            <a:ext cx="966322" cy="860358"/>
            <a:chOff x="3772626" y="2531562"/>
            <a:chExt cx="1808891" cy="1606817"/>
          </a:xfrm>
        </p:grpSpPr>
        <p:sp>
          <p:nvSpPr>
            <p:cNvPr id="161" name="Rounded Rectangle 74">
              <a:extLst>
                <a:ext uri="{FF2B5EF4-FFF2-40B4-BE49-F238E27FC236}">
                  <a16:creationId xmlns:a16="http://schemas.microsoft.com/office/drawing/2014/main" id="{B154A0B5-9971-4522-91C6-9296E015F61B}"/>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2" name="Rounded Rectangle 75">
              <a:extLst>
                <a:ext uri="{FF2B5EF4-FFF2-40B4-BE49-F238E27FC236}">
                  <a16:creationId xmlns:a16="http://schemas.microsoft.com/office/drawing/2014/main" id="{2795C019-DCAB-4D65-911A-894F33F5C93D}"/>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3" name="Rounded Rectangle 76">
              <a:extLst>
                <a:ext uri="{FF2B5EF4-FFF2-40B4-BE49-F238E27FC236}">
                  <a16:creationId xmlns:a16="http://schemas.microsoft.com/office/drawing/2014/main" id="{B743889A-9AC1-4E81-B9F2-F3F36CBE91AD}"/>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64" name="TextBox 99">
            <a:extLst>
              <a:ext uri="{FF2B5EF4-FFF2-40B4-BE49-F238E27FC236}">
                <a16:creationId xmlns:a16="http://schemas.microsoft.com/office/drawing/2014/main" id="{5F408D4B-AB62-4A86-BD24-DBF215274132}"/>
              </a:ext>
            </a:extLst>
          </p:cNvPr>
          <p:cNvSpPr txBox="1"/>
          <p:nvPr/>
        </p:nvSpPr>
        <p:spPr>
          <a:xfrm>
            <a:off x="8243559" y="5803012"/>
            <a:ext cx="2284600" cy="311624"/>
          </a:xfrm>
          <a:prstGeom prst="rect">
            <a:avLst/>
          </a:prstGeom>
          <a:noFill/>
        </p:spPr>
        <p:txBody>
          <a:bodyPr wrap="none" rtlCol="0" anchor="ctr" anchorCtr="0">
            <a:spAutoFit/>
          </a:bodyPr>
          <a:lstStyle/>
          <a:p>
            <a:r>
              <a:rPr lang="en-GB" sz="1400" b="1" spc="113">
                <a:solidFill>
                  <a:srgbClr val="C7621B"/>
                </a:solidFill>
                <a:latin typeface="+mj-lt"/>
                <a:ea typeface="League Spartan" charset="0"/>
                <a:cs typeface="Poppins" pitchFamily="2" charset="77"/>
              </a:rPr>
              <a:t>Checks Creditworthiness</a:t>
            </a:r>
            <a:endParaRPr lang="en-GB" sz="1400" b="1" spc="113" dirty="0">
              <a:solidFill>
                <a:srgbClr val="C7621B"/>
              </a:solidFill>
              <a:latin typeface="+mj-lt"/>
              <a:ea typeface="League Spartan" charset="0"/>
              <a:cs typeface="Poppins" pitchFamily="2" charset="77"/>
            </a:endParaRPr>
          </a:p>
        </p:txBody>
      </p:sp>
      <p:grpSp>
        <p:nvGrpSpPr>
          <p:cNvPr id="165" name="Gruppieren 164">
            <a:extLst>
              <a:ext uri="{FF2B5EF4-FFF2-40B4-BE49-F238E27FC236}">
                <a16:creationId xmlns:a16="http://schemas.microsoft.com/office/drawing/2014/main" id="{EFD875AA-9C10-44DC-87D7-5C636A6AB00C}"/>
              </a:ext>
            </a:extLst>
          </p:cNvPr>
          <p:cNvGrpSpPr/>
          <p:nvPr/>
        </p:nvGrpSpPr>
        <p:grpSpPr>
          <a:xfrm>
            <a:off x="7224161" y="5710734"/>
            <a:ext cx="966322" cy="860359"/>
            <a:chOff x="2290684" y="3390989"/>
            <a:chExt cx="1808891" cy="1606818"/>
          </a:xfrm>
        </p:grpSpPr>
        <p:sp>
          <p:nvSpPr>
            <p:cNvPr id="166" name="Rounded Rectangle 70">
              <a:extLst>
                <a:ext uri="{FF2B5EF4-FFF2-40B4-BE49-F238E27FC236}">
                  <a16:creationId xmlns:a16="http://schemas.microsoft.com/office/drawing/2014/main" id="{C954A0F8-DA36-497A-B52B-3AD9D3C05C21}"/>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7" name="Rounded Rectangle 71">
              <a:extLst>
                <a:ext uri="{FF2B5EF4-FFF2-40B4-BE49-F238E27FC236}">
                  <a16:creationId xmlns:a16="http://schemas.microsoft.com/office/drawing/2014/main" id="{10FD7370-7B06-4FA4-9CCF-73E71DBCE51D}"/>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8" name="Rounded Rectangle 72">
              <a:extLst>
                <a:ext uri="{FF2B5EF4-FFF2-40B4-BE49-F238E27FC236}">
                  <a16:creationId xmlns:a16="http://schemas.microsoft.com/office/drawing/2014/main" id="{980EAB1E-331A-4102-8A5D-FB7BDF47BD15}"/>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69" name="TextBox 99">
            <a:extLst>
              <a:ext uri="{FF2B5EF4-FFF2-40B4-BE49-F238E27FC236}">
                <a16:creationId xmlns:a16="http://schemas.microsoft.com/office/drawing/2014/main" id="{5F8A45B4-015B-4CF2-B0B1-772DC5D30F08}"/>
              </a:ext>
            </a:extLst>
          </p:cNvPr>
          <p:cNvSpPr txBox="1"/>
          <p:nvPr/>
        </p:nvSpPr>
        <p:spPr>
          <a:xfrm>
            <a:off x="6078013" y="5982879"/>
            <a:ext cx="1085939" cy="311624"/>
          </a:xfrm>
          <a:prstGeom prst="rect">
            <a:avLst/>
          </a:prstGeom>
          <a:noFill/>
        </p:spPr>
        <p:txBody>
          <a:bodyPr wrap="none" rtlCol="0" anchor="ctr" anchorCtr="0">
            <a:spAutoFit/>
          </a:bodyPr>
          <a:lstStyle/>
          <a:p>
            <a:pPr algn="r"/>
            <a:r>
              <a:rPr lang="en-GB" sz="1400" b="1" spc="113">
                <a:solidFill>
                  <a:srgbClr val="828282"/>
                </a:solidFill>
                <a:latin typeface="+mj-lt"/>
                <a:ea typeface="League Spartan" charset="0"/>
                <a:cs typeface="Poppins" pitchFamily="2" charset="77"/>
              </a:rPr>
              <a:t>Pays Claim</a:t>
            </a:r>
            <a:endParaRPr lang="en-GB" sz="1400" b="1" spc="113" dirty="0">
              <a:solidFill>
                <a:srgbClr val="828282"/>
              </a:solidFill>
              <a:latin typeface="+mj-lt"/>
              <a:ea typeface="League Spartan" charset="0"/>
              <a:cs typeface="Poppins" pitchFamily="2" charset="77"/>
            </a:endParaRPr>
          </a:p>
        </p:txBody>
      </p:sp>
    </p:spTree>
    <p:extLst>
      <p:ext uri="{BB962C8B-B14F-4D97-AF65-F5344CB8AC3E}">
        <p14:creationId xmlns:p14="http://schemas.microsoft.com/office/powerpoint/2010/main" val="3070592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679945" y="521788"/>
            <a:ext cx="8852375" cy="697353"/>
          </a:xfrm>
        </p:spPr>
        <p:txBody>
          <a:bodyPr>
            <a:normAutofit fontScale="92500"/>
          </a:bodyPr>
          <a:lstStyle/>
          <a:p>
            <a:r>
              <a:rPr lang="en-GB" dirty="0"/>
              <a:t>Exemplary financial measures: Shareholder Loan</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34083" y="1743425"/>
            <a:ext cx="3719455" cy="560696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Easy and quick to implement (even informal)</a:t>
            </a:r>
          </a:p>
          <a:p>
            <a:pPr algn="l">
              <a:lnSpc>
                <a:spcPct val="100000"/>
              </a:lnSpc>
              <a:spcBef>
                <a:spcPts val="600"/>
              </a:spcBef>
            </a:pPr>
            <a:r>
              <a:rPr lang="en-GB" altLang="de-DE" sz="1800" dirty="0">
                <a:solidFill>
                  <a:srgbClr val="245473"/>
                </a:solidFill>
                <a:latin typeface="+mj-lt"/>
              </a:rPr>
              <a:t>A classic problem of founder-operated medium-sized companies:</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Often the crisis is not recognized or recognized too late or it’s considered as a short-term weakness</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Because next year "for sure" will be better, the owner provides his own capital</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This capital is later missing as an own contribution to the restructuring</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In the event of insolvency, shareholder loans are subordinated</a:t>
            </a:r>
          </a:p>
          <a:p>
            <a:pPr algn="l">
              <a:lnSpc>
                <a:spcPct val="100000"/>
              </a:lnSpc>
              <a:spcBef>
                <a:spcPts val="600"/>
              </a:spcBef>
            </a:pPr>
            <a:endParaRPr lang="en-GB" sz="1800" dirty="0">
              <a:solidFill>
                <a:srgbClr val="245473"/>
              </a:solidFill>
              <a:latin typeface="+mj-lt"/>
              <a:sym typeface="Wingdings" panose="05000000000000000000" pitchFamily="2" charset="2"/>
            </a:endParaRPr>
          </a:p>
          <a:p>
            <a:pPr algn="l">
              <a:lnSpc>
                <a:spcPct val="100000"/>
              </a:lnSpc>
              <a:spcBef>
                <a:spcPts val="600"/>
              </a:spcBef>
            </a:pPr>
            <a:endParaRPr lang="en-GB" sz="18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id="{373DB9E1-FA58-423D-977D-419F75D1B8E6}"/>
              </a:ext>
            </a:extLst>
          </p:cNvPr>
          <p:cNvGrpSpPr/>
          <p:nvPr/>
        </p:nvGrpSpPr>
        <p:grpSpPr>
          <a:xfrm>
            <a:off x="3823063" y="2220686"/>
            <a:ext cx="8368937" cy="3818901"/>
            <a:chOff x="2933001" y="1477714"/>
            <a:chExt cx="9144001" cy="4561873"/>
          </a:xfrm>
        </p:grpSpPr>
        <p:sp>
          <p:nvSpPr>
            <p:cNvPr id="5" name="Shape 43421">
              <a:extLst>
                <a:ext uri="{FF2B5EF4-FFF2-40B4-BE49-F238E27FC236}">
                  <a16:creationId xmlns:a16="http://schemas.microsoft.com/office/drawing/2014/main" id="{F5E5235C-314B-4381-A193-3E71CE147DC7}"/>
                </a:ext>
              </a:extLst>
            </p:cNvPr>
            <p:cNvSpPr/>
            <p:nvPr/>
          </p:nvSpPr>
          <p:spPr>
            <a:xfrm flipH="1">
              <a:off x="6328929" y="4430539"/>
              <a:ext cx="3024063" cy="1279273"/>
            </a:xfrm>
            <a:custGeom>
              <a:avLst/>
              <a:gdLst/>
              <a:ahLst/>
              <a:cxnLst>
                <a:cxn ang="0">
                  <a:pos x="wd2" y="hd2"/>
                </a:cxn>
                <a:cxn ang="5400000">
                  <a:pos x="wd2" y="hd2"/>
                </a:cxn>
                <a:cxn ang="10800000">
                  <a:pos x="wd2" y="hd2"/>
                </a:cxn>
                <a:cxn ang="16200000">
                  <a:pos x="wd2" y="hd2"/>
                </a:cxn>
              </a:cxnLst>
              <a:rect l="0" t="0" r="r" b="b"/>
              <a:pathLst>
                <a:path w="21433" h="21445" extrusionOk="0">
                  <a:moveTo>
                    <a:pt x="21065" y="865"/>
                  </a:moveTo>
                  <a:cubicBezTo>
                    <a:pt x="21115" y="963"/>
                    <a:pt x="21162" y="1072"/>
                    <a:pt x="21205" y="1193"/>
                  </a:cubicBezTo>
                  <a:cubicBezTo>
                    <a:pt x="21600" y="2305"/>
                    <a:pt x="21463" y="3974"/>
                    <a:pt x="20940" y="4708"/>
                  </a:cubicBezTo>
                  <a:cubicBezTo>
                    <a:pt x="20696" y="4400"/>
                    <a:pt x="20419" y="4271"/>
                    <a:pt x="20147" y="4329"/>
                  </a:cubicBezTo>
                  <a:cubicBezTo>
                    <a:pt x="19875" y="4387"/>
                    <a:pt x="19608" y="4633"/>
                    <a:pt x="19383" y="5075"/>
                  </a:cubicBezTo>
                  <a:lnTo>
                    <a:pt x="17434" y="8893"/>
                  </a:lnTo>
                  <a:cubicBezTo>
                    <a:pt x="17434" y="8892"/>
                    <a:pt x="17434" y="8891"/>
                    <a:pt x="17434" y="8890"/>
                  </a:cubicBezTo>
                  <a:cubicBezTo>
                    <a:pt x="17434" y="8889"/>
                    <a:pt x="17435" y="8887"/>
                    <a:pt x="17435" y="8886"/>
                  </a:cubicBezTo>
                  <a:lnTo>
                    <a:pt x="17328" y="9093"/>
                  </a:lnTo>
                  <a:cubicBezTo>
                    <a:pt x="17321" y="8392"/>
                    <a:pt x="17216" y="7715"/>
                    <a:pt x="17026" y="7177"/>
                  </a:cubicBezTo>
                  <a:cubicBezTo>
                    <a:pt x="16971" y="7020"/>
                    <a:pt x="16908" y="6877"/>
                    <a:pt x="16841" y="6749"/>
                  </a:cubicBezTo>
                  <a:lnTo>
                    <a:pt x="19835" y="893"/>
                  </a:lnTo>
                  <a:cubicBezTo>
                    <a:pt x="19885" y="793"/>
                    <a:pt x="19940" y="706"/>
                    <a:pt x="19998" y="634"/>
                  </a:cubicBezTo>
                  <a:cubicBezTo>
                    <a:pt x="20281" y="279"/>
                    <a:pt x="20620" y="277"/>
                    <a:pt x="20905" y="622"/>
                  </a:cubicBezTo>
                  <a:cubicBezTo>
                    <a:pt x="20962" y="690"/>
                    <a:pt x="21015" y="768"/>
                    <a:pt x="21065" y="865"/>
                  </a:cubicBezTo>
                  <a:close/>
                  <a:moveTo>
                    <a:pt x="18952" y="583"/>
                  </a:moveTo>
                  <a:cubicBezTo>
                    <a:pt x="19002" y="679"/>
                    <a:pt x="19050" y="789"/>
                    <a:pt x="19092" y="911"/>
                  </a:cubicBezTo>
                  <a:cubicBezTo>
                    <a:pt x="19100" y="933"/>
                    <a:pt x="19107" y="954"/>
                    <a:pt x="19114" y="976"/>
                  </a:cubicBezTo>
                  <a:lnTo>
                    <a:pt x="16451" y="6193"/>
                  </a:lnTo>
                  <a:cubicBezTo>
                    <a:pt x="16382" y="6136"/>
                    <a:pt x="16311" y="6093"/>
                    <a:pt x="16239" y="6064"/>
                  </a:cubicBezTo>
                  <a:cubicBezTo>
                    <a:pt x="16166" y="6035"/>
                    <a:pt x="16092" y="6020"/>
                    <a:pt x="16019" y="6020"/>
                  </a:cubicBezTo>
                  <a:lnTo>
                    <a:pt x="14956" y="6024"/>
                  </a:lnTo>
                  <a:lnTo>
                    <a:pt x="17721" y="609"/>
                  </a:lnTo>
                  <a:cubicBezTo>
                    <a:pt x="18031" y="2"/>
                    <a:pt x="18455" y="-78"/>
                    <a:pt x="18792" y="336"/>
                  </a:cubicBezTo>
                  <a:cubicBezTo>
                    <a:pt x="18848" y="404"/>
                    <a:pt x="18901" y="487"/>
                    <a:pt x="18952" y="583"/>
                  </a:cubicBezTo>
                  <a:close/>
                  <a:moveTo>
                    <a:pt x="20964" y="6292"/>
                  </a:moveTo>
                  <a:cubicBezTo>
                    <a:pt x="21306" y="7269"/>
                    <a:pt x="21250" y="8715"/>
                    <a:pt x="20838" y="9528"/>
                  </a:cubicBezTo>
                  <a:lnTo>
                    <a:pt x="17513" y="16042"/>
                  </a:lnTo>
                  <a:cubicBezTo>
                    <a:pt x="17303" y="16454"/>
                    <a:pt x="16933" y="16638"/>
                    <a:pt x="16616" y="16719"/>
                  </a:cubicBezTo>
                  <a:cubicBezTo>
                    <a:pt x="16298" y="16800"/>
                    <a:pt x="16034" y="16779"/>
                    <a:pt x="16034" y="16779"/>
                  </a:cubicBezTo>
                  <a:lnTo>
                    <a:pt x="11044" y="16788"/>
                  </a:lnTo>
                  <a:cubicBezTo>
                    <a:pt x="11011" y="16788"/>
                    <a:pt x="10978" y="16784"/>
                    <a:pt x="10946" y="16777"/>
                  </a:cubicBezTo>
                  <a:cubicBezTo>
                    <a:pt x="10914" y="16769"/>
                    <a:pt x="10882" y="16758"/>
                    <a:pt x="10851" y="16744"/>
                  </a:cubicBezTo>
                  <a:cubicBezTo>
                    <a:pt x="10600" y="16668"/>
                    <a:pt x="10142" y="16532"/>
                    <a:pt x="9575" y="16099"/>
                  </a:cubicBezTo>
                  <a:cubicBezTo>
                    <a:pt x="9008" y="15666"/>
                    <a:pt x="8332" y="14938"/>
                    <a:pt x="7644" y="13678"/>
                  </a:cubicBezTo>
                  <a:lnTo>
                    <a:pt x="3729" y="21445"/>
                  </a:lnTo>
                  <a:lnTo>
                    <a:pt x="0" y="15037"/>
                  </a:lnTo>
                  <a:cubicBezTo>
                    <a:pt x="1576" y="11886"/>
                    <a:pt x="3171" y="8790"/>
                    <a:pt x="4777" y="5727"/>
                  </a:cubicBezTo>
                  <a:cubicBezTo>
                    <a:pt x="5291" y="4746"/>
                    <a:pt x="5676" y="4005"/>
                    <a:pt x="6272" y="3325"/>
                  </a:cubicBezTo>
                  <a:cubicBezTo>
                    <a:pt x="7715" y="1679"/>
                    <a:pt x="9186" y="2709"/>
                    <a:pt x="11615" y="6867"/>
                  </a:cubicBezTo>
                  <a:lnTo>
                    <a:pt x="16011" y="6857"/>
                  </a:lnTo>
                  <a:cubicBezTo>
                    <a:pt x="16313" y="6857"/>
                    <a:pt x="16584" y="7182"/>
                    <a:pt x="16763" y="7693"/>
                  </a:cubicBezTo>
                  <a:cubicBezTo>
                    <a:pt x="16903" y="8091"/>
                    <a:pt x="16988" y="8603"/>
                    <a:pt x="16988" y="9158"/>
                  </a:cubicBezTo>
                  <a:cubicBezTo>
                    <a:pt x="16989" y="9651"/>
                    <a:pt x="16923" y="10122"/>
                    <a:pt x="16804" y="10511"/>
                  </a:cubicBezTo>
                  <a:cubicBezTo>
                    <a:pt x="16726" y="10765"/>
                    <a:pt x="16626" y="10978"/>
                    <a:pt x="16512" y="11138"/>
                  </a:cubicBezTo>
                  <a:cubicBezTo>
                    <a:pt x="16362" y="11347"/>
                    <a:pt x="16191" y="11458"/>
                    <a:pt x="16017" y="11460"/>
                  </a:cubicBezTo>
                  <a:lnTo>
                    <a:pt x="11134" y="11495"/>
                  </a:lnTo>
                  <a:cubicBezTo>
                    <a:pt x="11029" y="11465"/>
                    <a:pt x="10938" y="11668"/>
                    <a:pt x="10945" y="11917"/>
                  </a:cubicBezTo>
                  <a:cubicBezTo>
                    <a:pt x="10951" y="12114"/>
                    <a:pt x="11019" y="12269"/>
                    <a:pt x="11102" y="12275"/>
                  </a:cubicBezTo>
                  <a:cubicBezTo>
                    <a:pt x="11150" y="12275"/>
                    <a:pt x="11198" y="12275"/>
                    <a:pt x="11247" y="12276"/>
                  </a:cubicBezTo>
                  <a:cubicBezTo>
                    <a:pt x="12837" y="12283"/>
                    <a:pt x="14428" y="12280"/>
                    <a:pt x="16019" y="12271"/>
                  </a:cubicBezTo>
                  <a:cubicBezTo>
                    <a:pt x="16059" y="12270"/>
                    <a:pt x="16395" y="12189"/>
                    <a:pt x="16715" y="11688"/>
                  </a:cubicBezTo>
                  <a:cubicBezTo>
                    <a:pt x="16958" y="11309"/>
                    <a:pt x="17278" y="10417"/>
                    <a:pt x="17507" y="9990"/>
                  </a:cubicBezTo>
                  <a:cubicBezTo>
                    <a:pt x="18496" y="8146"/>
                    <a:pt x="19594" y="5985"/>
                    <a:pt x="19594" y="5985"/>
                  </a:cubicBezTo>
                  <a:cubicBezTo>
                    <a:pt x="20008" y="5176"/>
                    <a:pt x="20621" y="5314"/>
                    <a:pt x="20964" y="6292"/>
                  </a:cubicBezTo>
                  <a:close/>
                  <a:moveTo>
                    <a:pt x="16816" y="506"/>
                  </a:moveTo>
                  <a:cubicBezTo>
                    <a:pt x="16866" y="602"/>
                    <a:pt x="16913" y="712"/>
                    <a:pt x="16956" y="834"/>
                  </a:cubicBezTo>
                  <a:cubicBezTo>
                    <a:pt x="16964" y="856"/>
                    <a:pt x="16971" y="878"/>
                    <a:pt x="16979" y="901"/>
                  </a:cubicBezTo>
                  <a:lnTo>
                    <a:pt x="14348" y="6053"/>
                  </a:lnTo>
                  <a:cubicBezTo>
                    <a:pt x="14332" y="6051"/>
                    <a:pt x="13944" y="6038"/>
                    <a:pt x="13559" y="6025"/>
                  </a:cubicBezTo>
                  <a:cubicBezTo>
                    <a:pt x="13174" y="6012"/>
                    <a:pt x="12793" y="6000"/>
                    <a:pt x="12793" y="6000"/>
                  </a:cubicBezTo>
                  <a:lnTo>
                    <a:pt x="15585" y="529"/>
                  </a:lnTo>
                  <a:cubicBezTo>
                    <a:pt x="15895" y="-78"/>
                    <a:pt x="16318" y="-155"/>
                    <a:pt x="16655" y="258"/>
                  </a:cubicBezTo>
                  <a:cubicBezTo>
                    <a:pt x="16712" y="327"/>
                    <a:pt x="16765" y="410"/>
                    <a:pt x="16816" y="506"/>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6" name="Shape 43422">
              <a:extLst>
                <a:ext uri="{FF2B5EF4-FFF2-40B4-BE49-F238E27FC236}">
                  <a16:creationId xmlns:a16="http://schemas.microsoft.com/office/drawing/2014/main" id="{2F44DC5A-423B-47BB-9B20-2352D76B1F2C}"/>
                </a:ext>
              </a:extLst>
            </p:cNvPr>
            <p:cNvSpPr/>
            <p:nvPr/>
          </p:nvSpPr>
          <p:spPr>
            <a:xfrm flipH="1">
              <a:off x="9952807" y="4256505"/>
              <a:ext cx="2124195" cy="17825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0" y="0"/>
                  </a:lnTo>
                  <a:close/>
                </a:path>
              </a:pathLst>
            </a:custGeom>
            <a:solidFill>
              <a:schemeClr val="accent3">
                <a:lumMod val="50000"/>
              </a:schemeClr>
            </a:solidFill>
            <a:ln w="12700" cap="flat">
              <a:noFill/>
              <a:miter lim="400000"/>
            </a:ln>
            <a:effectLst/>
          </p:spPr>
          <p:txBody>
            <a:bodyPr wrap="square" lIns="0" tIns="0" rIns="0" bIns="0" numCol="1" anchor="t">
              <a:noAutofit/>
            </a:bodyPr>
            <a:lstStyle/>
            <a:p>
              <a:endParaRPr lang="en-GB" sz="1600" dirty="0">
                <a:latin typeface="+mj-lt"/>
              </a:endParaRPr>
            </a:p>
          </p:txBody>
        </p:sp>
        <p:sp>
          <p:nvSpPr>
            <p:cNvPr id="7" name="Shape 43423">
              <a:extLst>
                <a:ext uri="{FF2B5EF4-FFF2-40B4-BE49-F238E27FC236}">
                  <a16:creationId xmlns:a16="http://schemas.microsoft.com/office/drawing/2014/main" id="{5D21598B-0F85-4EAF-AAD0-B05A51BC2BBE}"/>
                </a:ext>
              </a:extLst>
            </p:cNvPr>
            <p:cNvSpPr/>
            <p:nvPr/>
          </p:nvSpPr>
          <p:spPr>
            <a:xfrm flipH="1">
              <a:off x="8319561" y="4772297"/>
              <a:ext cx="2097334" cy="1267290"/>
            </a:xfrm>
            <a:custGeom>
              <a:avLst/>
              <a:gdLst/>
              <a:ahLst/>
              <a:cxnLst>
                <a:cxn ang="0">
                  <a:pos x="wd2" y="hd2"/>
                </a:cxn>
                <a:cxn ang="5400000">
                  <a:pos x="wd2" y="hd2"/>
                </a:cxn>
                <a:cxn ang="10800000">
                  <a:pos x="wd2" y="hd2"/>
                </a:cxn>
                <a:cxn ang="16200000">
                  <a:pos x="wd2" y="hd2"/>
                </a:cxn>
              </a:cxnLst>
              <a:rect l="0" t="0" r="r" b="b"/>
              <a:pathLst>
                <a:path w="21600" h="21600" extrusionOk="0">
                  <a:moveTo>
                    <a:pt x="15555" y="0"/>
                  </a:moveTo>
                  <a:lnTo>
                    <a:pt x="21600" y="11920"/>
                  </a:lnTo>
                  <a:lnTo>
                    <a:pt x="14630" y="21600"/>
                  </a:lnTo>
                  <a:lnTo>
                    <a:pt x="0" y="21600"/>
                  </a:lnTo>
                  <a:lnTo>
                    <a:pt x="15555" y="0"/>
                  </a:ln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8" name="Shape 43422">
              <a:extLst>
                <a:ext uri="{FF2B5EF4-FFF2-40B4-BE49-F238E27FC236}">
                  <a16:creationId xmlns:a16="http://schemas.microsoft.com/office/drawing/2014/main" id="{8713805C-890C-4B98-8DE5-FB94A45B7A90}"/>
                </a:ext>
              </a:extLst>
            </p:cNvPr>
            <p:cNvSpPr/>
            <p:nvPr/>
          </p:nvSpPr>
          <p:spPr>
            <a:xfrm rot="5400000" flipH="1">
              <a:off x="2762161" y="1648555"/>
              <a:ext cx="2124195" cy="17825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0" y="0"/>
                  </a:lnTo>
                  <a:close/>
                </a:path>
              </a:pathLst>
            </a:custGeom>
            <a:solidFill>
              <a:schemeClr val="accent3">
                <a:lumMod val="50000"/>
              </a:schemeClr>
            </a:solidFill>
            <a:ln w="12700" cap="flat">
              <a:noFill/>
              <a:miter lim="400000"/>
            </a:ln>
            <a:effectLst/>
          </p:spPr>
          <p:txBody>
            <a:bodyPr wrap="square" lIns="0" tIns="0" rIns="0" bIns="0" numCol="1" anchor="t">
              <a:noAutofit/>
            </a:bodyPr>
            <a:lstStyle/>
            <a:p>
              <a:endParaRPr lang="en-GB" sz="1600" dirty="0">
                <a:latin typeface="+mj-lt"/>
              </a:endParaRPr>
            </a:p>
          </p:txBody>
        </p:sp>
        <p:sp>
          <p:nvSpPr>
            <p:cNvPr id="9" name="Shape 43426">
              <a:extLst>
                <a:ext uri="{FF2B5EF4-FFF2-40B4-BE49-F238E27FC236}">
                  <a16:creationId xmlns:a16="http://schemas.microsoft.com/office/drawing/2014/main" id="{C26CDD67-CCEE-4E93-B306-80C57314C3D1}"/>
                </a:ext>
              </a:extLst>
            </p:cNvPr>
            <p:cNvSpPr/>
            <p:nvPr/>
          </p:nvSpPr>
          <p:spPr>
            <a:xfrm>
              <a:off x="6646987" y="2400920"/>
              <a:ext cx="1875248" cy="2620241"/>
            </a:xfrm>
            <a:custGeom>
              <a:avLst/>
              <a:gdLst/>
              <a:ahLst/>
              <a:cxnLst>
                <a:cxn ang="0">
                  <a:pos x="wd2" y="hd2"/>
                </a:cxn>
                <a:cxn ang="5400000">
                  <a:pos x="wd2" y="hd2"/>
                </a:cxn>
                <a:cxn ang="10800000">
                  <a:pos x="wd2" y="hd2"/>
                </a:cxn>
                <a:cxn ang="16200000">
                  <a:pos x="wd2" y="hd2"/>
                </a:cxn>
              </a:cxnLst>
              <a:rect l="0" t="0" r="r" b="b"/>
              <a:pathLst>
                <a:path w="20282" h="21598" extrusionOk="0">
                  <a:moveTo>
                    <a:pt x="6569" y="0"/>
                  </a:moveTo>
                  <a:cubicBezTo>
                    <a:pt x="7358" y="427"/>
                    <a:pt x="8025" y="973"/>
                    <a:pt x="8513" y="1610"/>
                  </a:cubicBezTo>
                  <a:cubicBezTo>
                    <a:pt x="9059" y="2323"/>
                    <a:pt x="9379" y="3123"/>
                    <a:pt x="9456" y="3947"/>
                  </a:cubicBezTo>
                  <a:lnTo>
                    <a:pt x="9467" y="3947"/>
                  </a:lnTo>
                  <a:cubicBezTo>
                    <a:pt x="9507" y="3947"/>
                    <a:pt x="9548" y="3947"/>
                    <a:pt x="9588" y="3947"/>
                  </a:cubicBezTo>
                  <a:cubicBezTo>
                    <a:pt x="9704" y="3947"/>
                    <a:pt x="9819" y="3947"/>
                    <a:pt x="9934" y="3947"/>
                  </a:cubicBezTo>
                  <a:cubicBezTo>
                    <a:pt x="9977" y="3947"/>
                    <a:pt x="10019" y="3947"/>
                    <a:pt x="10062" y="3947"/>
                  </a:cubicBezTo>
                  <a:cubicBezTo>
                    <a:pt x="10115" y="3947"/>
                    <a:pt x="10168" y="3947"/>
                    <a:pt x="10220" y="3947"/>
                  </a:cubicBezTo>
                  <a:cubicBezTo>
                    <a:pt x="10263" y="3947"/>
                    <a:pt x="10305" y="3947"/>
                    <a:pt x="10348" y="3947"/>
                  </a:cubicBezTo>
                  <a:cubicBezTo>
                    <a:pt x="10463" y="3947"/>
                    <a:pt x="10578" y="3947"/>
                    <a:pt x="10694" y="3947"/>
                  </a:cubicBezTo>
                  <a:cubicBezTo>
                    <a:pt x="10734" y="3947"/>
                    <a:pt x="10775" y="3947"/>
                    <a:pt x="10815" y="3947"/>
                  </a:cubicBezTo>
                  <a:lnTo>
                    <a:pt x="10826" y="3947"/>
                  </a:lnTo>
                  <a:cubicBezTo>
                    <a:pt x="10903" y="3123"/>
                    <a:pt x="11223" y="2323"/>
                    <a:pt x="11769" y="1610"/>
                  </a:cubicBezTo>
                  <a:cubicBezTo>
                    <a:pt x="12257" y="973"/>
                    <a:pt x="12924" y="427"/>
                    <a:pt x="13713" y="0"/>
                  </a:cubicBezTo>
                  <a:cubicBezTo>
                    <a:pt x="12549" y="8"/>
                    <a:pt x="11385" y="9"/>
                    <a:pt x="10220" y="5"/>
                  </a:cubicBezTo>
                  <a:cubicBezTo>
                    <a:pt x="10167" y="5"/>
                    <a:pt x="10115" y="5"/>
                    <a:pt x="10062" y="5"/>
                  </a:cubicBezTo>
                  <a:cubicBezTo>
                    <a:pt x="8897" y="9"/>
                    <a:pt x="7733" y="8"/>
                    <a:pt x="6569" y="0"/>
                  </a:cubicBezTo>
                  <a:close/>
                  <a:moveTo>
                    <a:pt x="9250" y="4760"/>
                  </a:moveTo>
                  <a:cubicBezTo>
                    <a:pt x="6682" y="6815"/>
                    <a:pt x="4159" y="8714"/>
                    <a:pt x="2189" y="11228"/>
                  </a:cubicBezTo>
                  <a:cubicBezTo>
                    <a:pt x="1299" y="12365"/>
                    <a:pt x="438" y="13790"/>
                    <a:pt x="112" y="15376"/>
                  </a:cubicBezTo>
                  <a:cubicBezTo>
                    <a:pt x="-659" y="19129"/>
                    <a:pt x="2660" y="21013"/>
                    <a:pt x="6901" y="21443"/>
                  </a:cubicBezTo>
                  <a:cubicBezTo>
                    <a:pt x="7721" y="21526"/>
                    <a:pt x="8616" y="21582"/>
                    <a:pt x="9546" y="21597"/>
                  </a:cubicBezTo>
                  <a:cubicBezTo>
                    <a:pt x="9716" y="21600"/>
                    <a:pt x="9889" y="21597"/>
                    <a:pt x="10062" y="21596"/>
                  </a:cubicBezTo>
                  <a:cubicBezTo>
                    <a:pt x="10115" y="21596"/>
                    <a:pt x="10167" y="21595"/>
                    <a:pt x="10220" y="21596"/>
                  </a:cubicBezTo>
                  <a:cubicBezTo>
                    <a:pt x="10393" y="21597"/>
                    <a:pt x="10566" y="21600"/>
                    <a:pt x="10736" y="21597"/>
                  </a:cubicBezTo>
                  <a:cubicBezTo>
                    <a:pt x="11666" y="21582"/>
                    <a:pt x="12561" y="21526"/>
                    <a:pt x="13381" y="21443"/>
                  </a:cubicBezTo>
                  <a:cubicBezTo>
                    <a:pt x="17622" y="21013"/>
                    <a:pt x="20941" y="19129"/>
                    <a:pt x="20170" y="15376"/>
                  </a:cubicBezTo>
                  <a:cubicBezTo>
                    <a:pt x="19844" y="13790"/>
                    <a:pt x="18983" y="12365"/>
                    <a:pt x="18093" y="11228"/>
                  </a:cubicBezTo>
                  <a:cubicBezTo>
                    <a:pt x="16123" y="8714"/>
                    <a:pt x="13600" y="6815"/>
                    <a:pt x="11032" y="4760"/>
                  </a:cubicBezTo>
                  <a:cubicBezTo>
                    <a:pt x="10799" y="4760"/>
                    <a:pt x="10566" y="4760"/>
                    <a:pt x="10333" y="4760"/>
                  </a:cubicBezTo>
                  <a:cubicBezTo>
                    <a:pt x="10296" y="4760"/>
                    <a:pt x="10258" y="4760"/>
                    <a:pt x="10220" y="4760"/>
                  </a:cubicBezTo>
                  <a:cubicBezTo>
                    <a:pt x="10167" y="4760"/>
                    <a:pt x="10115" y="4760"/>
                    <a:pt x="10062" y="4760"/>
                  </a:cubicBezTo>
                  <a:cubicBezTo>
                    <a:pt x="10024" y="4760"/>
                    <a:pt x="9986" y="4760"/>
                    <a:pt x="9949" y="4760"/>
                  </a:cubicBezTo>
                  <a:cubicBezTo>
                    <a:pt x="9716" y="4760"/>
                    <a:pt x="9483" y="4760"/>
                    <a:pt x="9250" y="4760"/>
                  </a:cubicBezTo>
                  <a:close/>
                </a:path>
              </a:pathLst>
            </a:custGeom>
            <a:solidFill>
              <a:srgbClr val="E53292"/>
            </a:solidFill>
            <a:ln w="12700" cap="flat">
              <a:noFill/>
              <a:miter lim="400000"/>
            </a:ln>
            <a:effectLst/>
          </p:spPr>
          <p:txBody>
            <a:bodyPr wrap="square" lIns="26796" tIns="26796" rIns="26796" bIns="26796" numCol="1" anchor="ctr">
              <a:noAutofit/>
            </a:bodyPr>
            <a:lstStyle/>
            <a:p>
              <a:endParaRPr lang="en-GB" sz="1600" dirty="0">
                <a:latin typeface="+mj-lt"/>
              </a:endParaRPr>
            </a:p>
          </p:txBody>
        </p:sp>
        <p:sp>
          <p:nvSpPr>
            <p:cNvPr id="10" name="Shape 43427">
              <a:extLst>
                <a:ext uri="{FF2B5EF4-FFF2-40B4-BE49-F238E27FC236}">
                  <a16:creationId xmlns:a16="http://schemas.microsoft.com/office/drawing/2014/main" id="{6A0B5014-3A84-4FFA-A0F0-D2B154E2393F}"/>
                </a:ext>
              </a:extLst>
            </p:cNvPr>
            <p:cNvSpPr/>
            <p:nvPr/>
          </p:nvSpPr>
          <p:spPr>
            <a:xfrm>
              <a:off x="7368848" y="3792463"/>
              <a:ext cx="446271" cy="977858"/>
            </a:xfrm>
            <a:custGeom>
              <a:avLst/>
              <a:gdLst/>
              <a:ahLst/>
              <a:cxnLst>
                <a:cxn ang="0">
                  <a:pos x="wd2" y="hd2"/>
                </a:cxn>
                <a:cxn ang="5400000">
                  <a:pos x="wd2" y="hd2"/>
                </a:cxn>
                <a:cxn ang="10800000">
                  <a:pos x="wd2" y="hd2"/>
                </a:cxn>
                <a:cxn ang="16200000">
                  <a:pos x="wd2" y="hd2"/>
                </a:cxn>
              </a:cxnLst>
              <a:rect l="0" t="0" r="r" b="b"/>
              <a:pathLst>
                <a:path w="21600" h="21600" extrusionOk="0">
                  <a:moveTo>
                    <a:pt x="9174" y="0"/>
                  </a:moveTo>
                  <a:lnTo>
                    <a:pt x="9174" y="2652"/>
                  </a:lnTo>
                  <a:cubicBezTo>
                    <a:pt x="3926" y="3047"/>
                    <a:pt x="495" y="4697"/>
                    <a:pt x="495" y="6882"/>
                  </a:cubicBezTo>
                  <a:cubicBezTo>
                    <a:pt x="495" y="9172"/>
                    <a:pt x="4179" y="10374"/>
                    <a:pt x="10062" y="11427"/>
                  </a:cubicBezTo>
                  <a:cubicBezTo>
                    <a:pt x="14330" y="12216"/>
                    <a:pt x="16564" y="13130"/>
                    <a:pt x="16564" y="14578"/>
                  </a:cubicBezTo>
                  <a:cubicBezTo>
                    <a:pt x="16564" y="16078"/>
                    <a:pt x="13755" y="17144"/>
                    <a:pt x="9660" y="17144"/>
                  </a:cubicBezTo>
                  <a:cubicBezTo>
                    <a:pt x="6430" y="17144"/>
                    <a:pt x="3401" y="16624"/>
                    <a:pt x="1383" y="16019"/>
                  </a:cubicBezTo>
                  <a:lnTo>
                    <a:pt x="0" y="17771"/>
                  </a:lnTo>
                  <a:cubicBezTo>
                    <a:pt x="1009" y="18100"/>
                    <a:pt x="2372" y="18387"/>
                    <a:pt x="3896" y="18594"/>
                  </a:cubicBezTo>
                  <a:cubicBezTo>
                    <a:pt x="5419" y="18801"/>
                    <a:pt x="7124" y="18939"/>
                    <a:pt x="8782" y="18944"/>
                  </a:cubicBezTo>
                  <a:lnTo>
                    <a:pt x="8782" y="21600"/>
                  </a:lnTo>
                  <a:lnTo>
                    <a:pt x="12426" y="21600"/>
                  </a:lnTo>
                  <a:lnTo>
                    <a:pt x="12426" y="18854"/>
                  </a:lnTo>
                  <a:cubicBezTo>
                    <a:pt x="18366" y="18433"/>
                    <a:pt x="21600" y="16457"/>
                    <a:pt x="21600" y="14352"/>
                  </a:cubicBezTo>
                  <a:cubicBezTo>
                    <a:pt x="21600" y="12009"/>
                    <a:pt x="18562" y="10690"/>
                    <a:pt x="12622" y="9585"/>
                  </a:cubicBezTo>
                  <a:cubicBezTo>
                    <a:pt x="7604" y="8611"/>
                    <a:pt x="5428" y="7908"/>
                    <a:pt x="5428" y="6566"/>
                  </a:cubicBezTo>
                  <a:cubicBezTo>
                    <a:pt x="5428" y="5487"/>
                    <a:pt x="7097" y="4272"/>
                    <a:pt x="11538" y="4272"/>
                  </a:cubicBezTo>
                  <a:cubicBezTo>
                    <a:pt x="15229" y="4272"/>
                    <a:pt x="17623" y="4903"/>
                    <a:pt x="18835" y="5219"/>
                  </a:cubicBezTo>
                  <a:lnTo>
                    <a:pt x="20311" y="3462"/>
                  </a:lnTo>
                  <a:cubicBezTo>
                    <a:pt x="19445" y="3238"/>
                    <a:pt x="18422" y="3028"/>
                    <a:pt x="17190" y="2865"/>
                  </a:cubicBezTo>
                  <a:cubicBezTo>
                    <a:pt x="15958" y="2703"/>
                    <a:pt x="14519" y="2589"/>
                    <a:pt x="12818" y="2562"/>
                  </a:cubicBezTo>
                  <a:lnTo>
                    <a:pt x="12818" y="0"/>
                  </a:lnTo>
                  <a:lnTo>
                    <a:pt x="9174" y="0"/>
                  </a:lnTo>
                  <a:close/>
                </a:path>
              </a:pathLst>
            </a:custGeom>
            <a:solidFill>
              <a:schemeClr val="bg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11" name="Shape 43429">
              <a:extLst>
                <a:ext uri="{FF2B5EF4-FFF2-40B4-BE49-F238E27FC236}">
                  <a16:creationId xmlns:a16="http://schemas.microsoft.com/office/drawing/2014/main" id="{BDD46ECB-FA5E-4488-9041-4DDF65130876}"/>
                </a:ext>
              </a:extLst>
            </p:cNvPr>
            <p:cNvSpPr/>
            <p:nvPr/>
          </p:nvSpPr>
          <p:spPr>
            <a:xfrm rot="5400000">
              <a:off x="6861592" y="2482673"/>
              <a:ext cx="1074326" cy="1239219"/>
            </a:xfrm>
            <a:custGeom>
              <a:avLst/>
              <a:gdLst/>
              <a:ahLst/>
              <a:cxnLst>
                <a:cxn ang="0">
                  <a:pos x="wd2" y="hd2"/>
                </a:cxn>
                <a:cxn ang="5400000">
                  <a:pos x="wd2" y="hd2"/>
                </a:cxn>
                <a:cxn ang="10800000">
                  <a:pos x="wd2" y="hd2"/>
                </a:cxn>
                <a:cxn ang="16200000">
                  <a:pos x="wd2" y="hd2"/>
                </a:cxn>
              </a:cxnLst>
              <a:rect l="0" t="0" r="r" b="b"/>
              <a:pathLst>
                <a:path w="21504" h="21513" extrusionOk="0">
                  <a:moveTo>
                    <a:pt x="4399" y="0"/>
                  </a:moveTo>
                  <a:cubicBezTo>
                    <a:pt x="3834" y="0"/>
                    <a:pt x="3327" y="201"/>
                    <a:pt x="2957" y="522"/>
                  </a:cubicBezTo>
                  <a:cubicBezTo>
                    <a:pt x="2587" y="842"/>
                    <a:pt x="2356" y="1283"/>
                    <a:pt x="2356" y="1772"/>
                  </a:cubicBezTo>
                  <a:lnTo>
                    <a:pt x="2356" y="2415"/>
                  </a:lnTo>
                  <a:lnTo>
                    <a:pt x="2356" y="3551"/>
                  </a:lnTo>
                  <a:lnTo>
                    <a:pt x="2356" y="7143"/>
                  </a:lnTo>
                  <a:cubicBezTo>
                    <a:pt x="2229" y="7136"/>
                    <a:pt x="2102" y="7138"/>
                    <a:pt x="1977" y="7150"/>
                  </a:cubicBezTo>
                  <a:cubicBezTo>
                    <a:pt x="1225" y="7218"/>
                    <a:pt x="551" y="7601"/>
                    <a:pt x="214" y="8186"/>
                  </a:cubicBezTo>
                  <a:cubicBezTo>
                    <a:pt x="-21" y="8593"/>
                    <a:pt x="-74" y="9082"/>
                    <a:pt x="115" y="9543"/>
                  </a:cubicBezTo>
                  <a:cubicBezTo>
                    <a:pt x="852" y="11613"/>
                    <a:pt x="1671" y="13662"/>
                    <a:pt x="2578" y="15681"/>
                  </a:cubicBezTo>
                  <a:cubicBezTo>
                    <a:pt x="3077" y="16791"/>
                    <a:pt x="3617" y="17897"/>
                    <a:pt x="4481" y="18825"/>
                  </a:cubicBezTo>
                  <a:cubicBezTo>
                    <a:pt x="5214" y="19612"/>
                    <a:pt x="6220" y="20276"/>
                    <a:pt x="7513" y="20768"/>
                  </a:cubicBezTo>
                  <a:cubicBezTo>
                    <a:pt x="9108" y="21376"/>
                    <a:pt x="10859" y="21600"/>
                    <a:pt x="12596" y="21483"/>
                  </a:cubicBezTo>
                  <a:cubicBezTo>
                    <a:pt x="14857" y="21330"/>
                    <a:pt x="16991" y="20631"/>
                    <a:pt x="18528" y="19296"/>
                  </a:cubicBezTo>
                  <a:cubicBezTo>
                    <a:pt x="20567" y="17525"/>
                    <a:pt x="21227" y="14955"/>
                    <a:pt x="21419" y="12443"/>
                  </a:cubicBezTo>
                  <a:cubicBezTo>
                    <a:pt x="21526" y="11054"/>
                    <a:pt x="21507" y="9660"/>
                    <a:pt x="21495" y="8268"/>
                  </a:cubicBezTo>
                  <a:cubicBezTo>
                    <a:pt x="21483" y="6724"/>
                    <a:pt x="21481" y="5179"/>
                    <a:pt x="21485" y="3634"/>
                  </a:cubicBezTo>
                  <a:cubicBezTo>
                    <a:pt x="21487" y="3145"/>
                    <a:pt x="21262" y="2705"/>
                    <a:pt x="20892" y="2384"/>
                  </a:cubicBezTo>
                  <a:cubicBezTo>
                    <a:pt x="20523" y="2064"/>
                    <a:pt x="20006" y="1863"/>
                    <a:pt x="19442" y="1863"/>
                  </a:cubicBezTo>
                  <a:lnTo>
                    <a:pt x="19220" y="1863"/>
                  </a:lnTo>
                  <a:cubicBezTo>
                    <a:pt x="18658" y="1870"/>
                    <a:pt x="18152" y="2069"/>
                    <a:pt x="17778" y="2384"/>
                  </a:cubicBezTo>
                  <a:cubicBezTo>
                    <a:pt x="17398" y="2704"/>
                    <a:pt x="17167" y="3148"/>
                    <a:pt x="17146" y="3638"/>
                  </a:cubicBezTo>
                  <a:lnTo>
                    <a:pt x="16550" y="3538"/>
                  </a:lnTo>
                  <a:lnTo>
                    <a:pt x="16550" y="3047"/>
                  </a:lnTo>
                  <a:cubicBezTo>
                    <a:pt x="16551" y="2558"/>
                    <a:pt x="16322" y="2115"/>
                    <a:pt x="15952" y="1794"/>
                  </a:cubicBezTo>
                  <a:cubicBezTo>
                    <a:pt x="15582" y="1473"/>
                    <a:pt x="15072" y="1275"/>
                    <a:pt x="14507" y="1275"/>
                  </a:cubicBezTo>
                  <a:lnTo>
                    <a:pt x="14277" y="1275"/>
                  </a:lnTo>
                  <a:cubicBezTo>
                    <a:pt x="13716" y="1285"/>
                    <a:pt x="13211" y="1481"/>
                    <a:pt x="12836" y="1794"/>
                  </a:cubicBezTo>
                  <a:cubicBezTo>
                    <a:pt x="12491" y="2083"/>
                    <a:pt x="12257" y="2472"/>
                    <a:pt x="12195" y="2911"/>
                  </a:cubicBezTo>
                  <a:lnTo>
                    <a:pt x="12164" y="2917"/>
                  </a:lnTo>
                  <a:lnTo>
                    <a:pt x="11537" y="2837"/>
                  </a:lnTo>
                  <a:lnTo>
                    <a:pt x="11607" y="2217"/>
                  </a:lnTo>
                  <a:cubicBezTo>
                    <a:pt x="11607" y="1727"/>
                    <a:pt x="11379" y="1284"/>
                    <a:pt x="11009" y="964"/>
                  </a:cubicBezTo>
                  <a:cubicBezTo>
                    <a:pt x="10639" y="643"/>
                    <a:pt x="10128" y="445"/>
                    <a:pt x="9564" y="445"/>
                  </a:cubicBezTo>
                  <a:lnTo>
                    <a:pt x="9342" y="445"/>
                  </a:lnTo>
                  <a:cubicBezTo>
                    <a:pt x="8780" y="453"/>
                    <a:pt x="8272" y="649"/>
                    <a:pt x="7897" y="964"/>
                  </a:cubicBezTo>
                  <a:cubicBezTo>
                    <a:pt x="7523" y="1278"/>
                    <a:pt x="7280" y="1711"/>
                    <a:pt x="7252" y="2196"/>
                  </a:cubicBezTo>
                  <a:lnTo>
                    <a:pt x="7252" y="2185"/>
                  </a:lnTo>
                  <a:lnTo>
                    <a:pt x="6634" y="2107"/>
                  </a:lnTo>
                  <a:lnTo>
                    <a:pt x="6664" y="1772"/>
                  </a:lnTo>
                  <a:cubicBezTo>
                    <a:pt x="6664" y="1283"/>
                    <a:pt x="6441" y="842"/>
                    <a:pt x="6071" y="522"/>
                  </a:cubicBezTo>
                  <a:cubicBezTo>
                    <a:pt x="5701" y="201"/>
                    <a:pt x="5185" y="0"/>
                    <a:pt x="4621" y="0"/>
                  </a:cubicBezTo>
                  <a:lnTo>
                    <a:pt x="4399"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12" name="Shape 43431">
              <a:extLst>
                <a:ext uri="{FF2B5EF4-FFF2-40B4-BE49-F238E27FC236}">
                  <a16:creationId xmlns:a16="http://schemas.microsoft.com/office/drawing/2014/main" id="{2AEF8627-567A-4646-B27B-99CFE3434B7F}"/>
                </a:ext>
              </a:extLst>
            </p:cNvPr>
            <p:cNvSpPr/>
            <p:nvPr/>
          </p:nvSpPr>
          <p:spPr>
            <a:xfrm>
              <a:off x="2933001" y="2688844"/>
              <a:ext cx="3973854" cy="913065"/>
            </a:xfrm>
            <a:prstGeom prst="rect">
              <a:avLst/>
            </a:prstGeom>
            <a:solidFill>
              <a:srgbClr val="24547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3" name="TextBox 21">
              <a:extLst>
                <a:ext uri="{FF2B5EF4-FFF2-40B4-BE49-F238E27FC236}">
                  <a16:creationId xmlns:a16="http://schemas.microsoft.com/office/drawing/2014/main" id="{B2FE1FC3-DB64-4EBE-8718-6A95FFFCC0F3}"/>
                </a:ext>
              </a:extLst>
            </p:cNvPr>
            <p:cNvSpPr txBox="1"/>
            <p:nvPr/>
          </p:nvSpPr>
          <p:spPr>
            <a:xfrm>
              <a:off x="8842194" y="2973685"/>
              <a:ext cx="1137399" cy="441186"/>
            </a:xfrm>
            <a:prstGeom prst="rect">
              <a:avLst/>
            </a:prstGeom>
            <a:noFill/>
          </p:spPr>
          <p:txBody>
            <a:bodyPr wrap="none" rtlCol="0" anchor="ctr" anchorCtr="0">
              <a:spAutoFit/>
            </a:bodyPr>
            <a:lstStyle/>
            <a:p>
              <a:r>
                <a:rPr lang="en-GB" b="1" dirty="0">
                  <a:solidFill>
                    <a:srgbClr val="245473"/>
                  </a:solidFill>
                  <a:latin typeface="+mj-lt"/>
                  <a:ea typeface="League Spartan" charset="0"/>
                  <a:cs typeface="Poppins" pitchFamily="2" charset="77"/>
                </a:rPr>
                <a:t>Company</a:t>
              </a:r>
            </a:p>
          </p:txBody>
        </p:sp>
        <p:sp>
          <p:nvSpPr>
            <p:cNvPr id="14" name="Subtitle 2">
              <a:extLst>
                <a:ext uri="{FF2B5EF4-FFF2-40B4-BE49-F238E27FC236}">
                  <a16:creationId xmlns:a16="http://schemas.microsoft.com/office/drawing/2014/main" id="{4193DE34-63FB-45E5-8AB7-8F34700E8445}"/>
                </a:ext>
              </a:extLst>
            </p:cNvPr>
            <p:cNvSpPr txBox="1">
              <a:spLocks/>
            </p:cNvSpPr>
            <p:nvPr/>
          </p:nvSpPr>
          <p:spPr>
            <a:xfrm>
              <a:off x="8948385" y="3397057"/>
              <a:ext cx="2403047" cy="11443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Company pays interest and amortization</a:t>
              </a:r>
            </a:p>
          </p:txBody>
        </p:sp>
        <p:sp>
          <p:nvSpPr>
            <p:cNvPr id="15" name="TextBox 23">
              <a:extLst>
                <a:ext uri="{FF2B5EF4-FFF2-40B4-BE49-F238E27FC236}">
                  <a16:creationId xmlns:a16="http://schemas.microsoft.com/office/drawing/2014/main" id="{F3770857-352B-4710-BFE0-176A599FC6DE}"/>
                </a:ext>
              </a:extLst>
            </p:cNvPr>
            <p:cNvSpPr txBox="1"/>
            <p:nvPr/>
          </p:nvSpPr>
          <p:spPr>
            <a:xfrm>
              <a:off x="4664889" y="4060799"/>
              <a:ext cx="1411819" cy="441186"/>
            </a:xfrm>
            <a:prstGeom prst="rect">
              <a:avLst/>
            </a:prstGeom>
            <a:noFill/>
          </p:spPr>
          <p:txBody>
            <a:bodyPr wrap="none" rtlCol="0" anchor="ctr" anchorCtr="0">
              <a:spAutoFit/>
            </a:bodyPr>
            <a:lstStyle/>
            <a:p>
              <a:pPr algn="r"/>
              <a:r>
                <a:rPr lang="en-GB" b="1" dirty="0">
                  <a:solidFill>
                    <a:srgbClr val="245473"/>
                  </a:solidFill>
                  <a:latin typeface="+mj-lt"/>
                  <a:ea typeface="League Spartan" charset="0"/>
                  <a:cs typeface="Poppins" pitchFamily="2" charset="77"/>
                </a:rPr>
                <a:t>Shareholder</a:t>
              </a:r>
            </a:p>
          </p:txBody>
        </p:sp>
        <p:sp>
          <p:nvSpPr>
            <p:cNvPr id="17" name="Subtitle 2">
              <a:extLst>
                <a:ext uri="{FF2B5EF4-FFF2-40B4-BE49-F238E27FC236}">
                  <a16:creationId xmlns:a16="http://schemas.microsoft.com/office/drawing/2014/main" id="{8963A950-6233-4053-8C45-C3C5BA3759CC}"/>
                </a:ext>
              </a:extLst>
            </p:cNvPr>
            <p:cNvSpPr txBox="1">
              <a:spLocks/>
            </p:cNvSpPr>
            <p:nvPr/>
          </p:nvSpPr>
          <p:spPr>
            <a:xfrm>
              <a:off x="3673661" y="4464984"/>
              <a:ext cx="2403047" cy="11443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Shareholder provides a Loan to the company</a:t>
              </a:r>
            </a:p>
          </p:txBody>
        </p:sp>
      </p:grpSp>
    </p:spTree>
    <p:extLst>
      <p:ext uri="{BB962C8B-B14F-4D97-AF65-F5344CB8AC3E}">
        <p14:creationId xmlns:p14="http://schemas.microsoft.com/office/powerpoint/2010/main" val="31173176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19268" y="623504"/>
            <a:ext cx="8852375" cy="697353"/>
          </a:xfrm>
        </p:spPr>
        <p:txBody>
          <a:bodyPr>
            <a:normAutofit/>
          </a:bodyPr>
          <a:lstStyle/>
          <a:p>
            <a:r>
              <a:rPr lang="en-GB" dirty="0"/>
              <a:t>Exemplary financial measures: Equity Injection</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07808" y="1950923"/>
            <a:ext cx="7466402" cy="43143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000" dirty="0">
                <a:solidFill>
                  <a:srgbClr val="245473"/>
                </a:solidFill>
                <a:latin typeface="+mj-lt"/>
                <a:ea typeface="Open Sans Light" panose="020B0306030504020204" pitchFamily="34" charset="0"/>
                <a:cs typeface="Open Sans Light" panose="020B0306030504020204" pitchFamily="34" charset="0"/>
              </a:rPr>
              <a:t>Inserting equity in the form of capital or cash for the purpose of lowering debt ratios and/or providing capital to stimulate growth.</a:t>
            </a:r>
          </a:p>
          <a:p>
            <a:pPr algn="l">
              <a:lnSpc>
                <a:spcPct val="100000"/>
              </a:lnSpc>
              <a:spcBef>
                <a:spcPts val="600"/>
              </a:spcBef>
            </a:pPr>
            <a:r>
              <a:rPr lang="en-US" sz="2000" b="1" dirty="0">
                <a:solidFill>
                  <a:srgbClr val="E53292"/>
                </a:solidFill>
                <a:latin typeface="+mj-lt"/>
                <a:ea typeface="Open Sans Light" panose="020B0306030504020204" pitchFamily="34" charset="0"/>
                <a:cs typeface="Open Sans Light" panose="020B0306030504020204" pitchFamily="34" charset="0"/>
              </a:rPr>
              <a:t>Considerations:-</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Additional financing by the existing shareholders is easier: "we know each other".</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It does not change the shareholder structure and relationships (at least as long as everybody tags along)</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No company valuation required</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Problems arise when only some of the existing shareholders participate or external investors join: </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Who bears the risk?</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What does the investor get (what he does not already have)?</a:t>
            </a:r>
            <a:endParaRPr lang="en-GB" sz="2000" dirty="0">
              <a:solidFill>
                <a:srgbClr val="245473"/>
              </a:solidFill>
              <a:latin typeface="+mj-lt"/>
              <a:sym typeface="Wingdings" panose="05000000000000000000" pitchFamily="2" charset="2"/>
            </a:endParaRPr>
          </a:p>
        </p:txBody>
      </p:sp>
      <p:grpSp>
        <p:nvGrpSpPr>
          <p:cNvPr id="5" name="Group 24">
            <a:extLst>
              <a:ext uri="{FF2B5EF4-FFF2-40B4-BE49-F238E27FC236}">
                <a16:creationId xmlns:a16="http://schemas.microsoft.com/office/drawing/2014/main" id="{976D68A4-3C3E-4B7E-82C3-48E2F433EA45}"/>
              </a:ext>
            </a:extLst>
          </p:cNvPr>
          <p:cNvGrpSpPr/>
          <p:nvPr/>
        </p:nvGrpSpPr>
        <p:grpSpPr>
          <a:xfrm>
            <a:off x="8639291" y="2164331"/>
            <a:ext cx="2560300" cy="3539026"/>
            <a:chOff x="13617120" y="3519055"/>
            <a:chExt cx="6825688" cy="9434945"/>
          </a:xfrm>
        </p:grpSpPr>
        <p:sp>
          <p:nvSpPr>
            <p:cNvPr id="6" name="Shape 43426">
              <a:extLst>
                <a:ext uri="{FF2B5EF4-FFF2-40B4-BE49-F238E27FC236}">
                  <a16:creationId xmlns:a16="http://schemas.microsoft.com/office/drawing/2014/main" id="{80940619-31E1-40F1-BC2E-A53139BE29AF}"/>
                </a:ext>
              </a:extLst>
            </p:cNvPr>
            <p:cNvSpPr/>
            <p:nvPr/>
          </p:nvSpPr>
          <p:spPr>
            <a:xfrm>
              <a:off x="13794035" y="3737422"/>
              <a:ext cx="6454810" cy="9019162"/>
            </a:xfrm>
            <a:custGeom>
              <a:avLst/>
              <a:gdLst/>
              <a:ahLst/>
              <a:cxnLst>
                <a:cxn ang="0">
                  <a:pos x="wd2" y="hd2"/>
                </a:cxn>
                <a:cxn ang="5400000">
                  <a:pos x="wd2" y="hd2"/>
                </a:cxn>
                <a:cxn ang="10800000">
                  <a:pos x="wd2" y="hd2"/>
                </a:cxn>
                <a:cxn ang="16200000">
                  <a:pos x="wd2" y="hd2"/>
                </a:cxn>
              </a:cxnLst>
              <a:rect l="0" t="0" r="r" b="b"/>
              <a:pathLst>
                <a:path w="20282" h="21598" extrusionOk="0">
                  <a:moveTo>
                    <a:pt x="6569" y="0"/>
                  </a:moveTo>
                  <a:cubicBezTo>
                    <a:pt x="7358" y="427"/>
                    <a:pt x="8025" y="973"/>
                    <a:pt x="8513" y="1610"/>
                  </a:cubicBezTo>
                  <a:cubicBezTo>
                    <a:pt x="9059" y="2323"/>
                    <a:pt x="9379" y="3123"/>
                    <a:pt x="9456" y="3947"/>
                  </a:cubicBezTo>
                  <a:lnTo>
                    <a:pt x="9467" y="3947"/>
                  </a:lnTo>
                  <a:cubicBezTo>
                    <a:pt x="9507" y="3947"/>
                    <a:pt x="9548" y="3947"/>
                    <a:pt x="9588" y="3947"/>
                  </a:cubicBezTo>
                  <a:cubicBezTo>
                    <a:pt x="9704" y="3947"/>
                    <a:pt x="9819" y="3947"/>
                    <a:pt x="9934" y="3947"/>
                  </a:cubicBezTo>
                  <a:cubicBezTo>
                    <a:pt x="9977" y="3947"/>
                    <a:pt x="10019" y="3947"/>
                    <a:pt x="10062" y="3947"/>
                  </a:cubicBezTo>
                  <a:cubicBezTo>
                    <a:pt x="10115" y="3947"/>
                    <a:pt x="10168" y="3947"/>
                    <a:pt x="10220" y="3947"/>
                  </a:cubicBezTo>
                  <a:cubicBezTo>
                    <a:pt x="10263" y="3947"/>
                    <a:pt x="10305" y="3947"/>
                    <a:pt x="10348" y="3947"/>
                  </a:cubicBezTo>
                  <a:cubicBezTo>
                    <a:pt x="10463" y="3947"/>
                    <a:pt x="10578" y="3947"/>
                    <a:pt x="10694" y="3947"/>
                  </a:cubicBezTo>
                  <a:cubicBezTo>
                    <a:pt x="10734" y="3947"/>
                    <a:pt x="10775" y="3947"/>
                    <a:pt x="10815" y="3947"/>
                  </a:cubicBezTo>
                  <a:lnTo>
                    <a:pt x="10826" y="3947"/>
                  </a:lnTo>
                  <a:cubicBezTo>
                    <a:pt x="10903" y="3123"/>
                    <a:pt x="11223" y="2323"/>
                    <a:pt x="11769" y="1610"/>
                  </a:cubicBezTo>
                  <a:cubicBezTo>
                    <a:pt x="12257" y="973"/>
                    <a:pt x="12924" y="427"/>
                    <a:pt x="13713" y="0"/>
                  </a:cubicBezTo>
                  <a:cubicBezTo>
                    <a:pt x="12549" y="8"/>
                    <a:pt x="11385" y="9"/>
                    <a:pt x="10220" y="5"/>
                  </a:cubicBezTo>
                  <a:cubicBezTo>
                    <a:pt x="10167" y="5"/>
                    <a:pt x="10115" y="5"/>
                    <a:pt x="10062" y="5"/>
                  </a:cubicBezTo>
                  <a:cubicBezTo>
                    <a:pt x="8897" y="9"/>
                    <a:pt x="7733" y="8"/>
                    <a:pt x="6569" y="0"/>
                  </a:cubicBezTo>
                  <a:close/>
                  <a:moveTo>
                    <a:pt x="9250" y="4760"/>
                  </a:moveTo>
                  <a:cubicBezTo>
                    <a:pt x="6682" y="6815"/>
                    <a:pt x="4159" y="8714"/>
                    <a:pt x="2189" y="11228"/>
                  </a:cubicBezTo>
                  <a:cubicBezTo>
                    <a:pt x="1299" y="12365"/>
                    <a:pt x="438" y="13790"/>
                    <a:pt x="112" y="15376"/>
                  </a:cubicBezTo>
                  <a:cubicBezTo>
                    <a:pt x="-659" y="19129"/>
                    <a:pt x="2660" y="21013"/>
                    <a:pt x="6901" y="21443"/>
                  </a:cubicBezTo>
                  <a:cubicBezTo>
                    <a:pt x="7721" y="21526"/>
                    <a:pt x="8616" y="21582"/>
                    <a:pt x="9546" y="21597"/>
                  </a:cubicBezTo>
                  <a:cubicBezTo>
                    <a:pt x="9716" y="21600"/>
                    <a:pt x="9889" y="21597"/>
                    <a:pt x="10062" y="21596"/>
                  </a:cubicBezTo>
                  <a:cubicBezTo>
                    <a:pt x="10115" y="21596"/>
                    <a:pt x="10167" y="21595"/>
                    <a:pt x="10220" y="21596"/>
                  </a:cubicBezTo>
                  <a:cubicBezTo>
                    <a:pt x="10393" y="21597"/>
                    <a:pt x="10566" y="21600"/>
                    <a:pt x="10736" y="21597"/>
                  </a:cubicBezTo>
                  <a:cubicBezTo>
                    <a:pt x="11666" y="21582"/>
                    <a:pt x="12561" y="21526"/>
                    <a:pt x="13381" y="21443"/>
                  </a:cubicBezTo>
                  <a:cubicBezTo>
                    <a:pt x="17622" y="21013"/>
                    <a:pt x="20941" y="19129"/>
                    <a:pt x="20170" y="15376"/>
                  </a:cubicBezTo>
                  <a:cubicBezTo>
                    <a:pt x="19844" y="13790"/>
                    <a:pt x="18983" y="12365"/>
                    <a:pt x="18093" y="11228"/>
                  </a:cubicBezTo>
                  <a:cubicBezTo>
                    <a:pt x="16123" y="8714"/>
                    <a:pt x="13600" y="6815"/>
                    <a:pt x="11032" y="4760"/>
                  </a:cubicBezTo>
                  <a:cubicBezTo>
                    <a:pt x="10799" y="4760"/>
                    <a:pt x="10566" y="4760"/>
                    <a:pt x="10333" y="4760"/>
                  </a:cubicBezTo>
                  <a:cubicBezTo>
                    <a:pt x="10296" y="4760"/>
                    <a:pt x="10258" y="4760"/>
                    <a:pt x="10220" y="4760"/>
                  </a:cubicBezTo>
                  <a:cubicBezTo>
                    <a:pt x="10167" y="4760"/>
                    <a:pt x="10115" y="4760"/>
                    <a:pt x="10062" y="4760"/>
                  </a:cubicBezTo>
                  <a:cubicBezTo>
                    <a:pt x="10024" y="4760"/>
                    <a:pt x="9986" y="4760"/>
                    <a:pt x="9949" y="4760"/>
                  </a:cubicBezTo>
                  <a:cubicBezTo>
                    <a:pt x="9716" y="4760"/>
                    <a:pt x="9483" y="4760"/>
                    <a:pt x="9250" y="476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sz="1899" dirty="0">
                <a:latin typeface="Lato Light" panose="020F0502020204030203" pitchFamily="34" charset="0"/>
              </a:endParaRPr>
            </a:p>
          </p:txBody>
        </p:sp>
        <p:sp>
          <p:nvSpPr>
            <p:cNvPr id="7" name="Rectangle 23">
              <a:extLst>
                <a:ext uri="{FF2B5EF4-FFF2-40B4-BE49-F238E27FC236}">
                  <a16:creationId xmlns:a16="http://schemas.microsoft.com/office/drawing/2014/main" id="{C24DF448-1560-4D4C-B217-A2AF76E6A643}"/>
                </a:ext>
              </a:extLst>
            </p:cNvPr>
            <p:cNvSpPr/>
            <p:nvPr/>
          </p:nvSpPr>
          <p:spPr>
            <a:xfrm>
              <a:off x="13617120" y="8016412"/>
              <a:ext cx="6825688" cy="49375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useBgFill="1">
          <p:nvSpPr>
            <p:cNvPr id="8" name="Freeform 22">
              <a:extLst>
                <a:ext uri="{FF2B5EF4-FFF2-40B4-BE49-F238E27FC236}">
                  <a16:creationId xmlns:a16="http://schemas.microsoft.com/office/drawing/2014/main" id="{750C442B-4699-4EC7-B0C2-20A212419ECB}"/>
                </a:ext>
              </a:extLst>
            </p:cNvPr>
            <p:cNvSpPr/>
            <p:nvPr/>
          </p:nvSpPr>
          <p:spPr>
            <a:xfrm>
              <a:off x="13617120" y="3519055"/>
              <a:ext cx="6825688" cy="9434945"/>
            </a:xfrm>
            <a:custGeom>
              <a:avLst/>
              <a:gdLst>
                <a:gd name="connsiteX0" fmla="*/ 3120756 w 6825688"/>
                <a:gd name="connsiteY0" fmla="*/ 2206107 h 9434945"/>
                <a:gd name="connsiteX1" fmla="*/ 873571 w 6825688"/>
                <a:gd name="connsiteY1" fmla="*/ 4907095 h 9434945"/>
                <a:gd name="connsiteX2" fmla="*/ 212559 w 6825688"/>
                <a:gd name="connsiteY2" fmla="*/ 6639269 h 9434945"/>
                <a:gd name="connsiteX3" fmla="*/ 2373180 w 6825688"/>
                <a:gd name="connsiteY3" fmla="*/ 9172802 h 9434945"/>
                <a:gd name="connsiteX4" fmla="*/ 3214960 w 6825688"/>
                <a:gd name="connsiteY4" fmla="*/ 9237111 h 9434945"/>
                <a:gd name="connsiteX5" fmla="*/ 3379178 w 6825688"/>
                <a:gd name="connsiteY5" fmla="*/ 9236694 h 9434945"/>
                <a:gd name="connsiteX6" fmla="*/ 3429462 w 6825688"/>
                <a:gd name="connsiteY6" fmla="*/ 9236694 h 9434945"/>
                <a:gd name="connsiteX7" fmla="*/ 3593680 w 6825688"/>
                <a:gd name="connsiteY7" fmla="*/ 9237111 h 9434945"/>
                <a:gd name="connsiteX8" fmla="*/ 4435460 w 6825688"/>
                <a:gd name="connsiteY8" fmla="*/ 9172802 h 9434945"/>
                <a:gd name="connsiteX9" fmla="*/ 6596080 w 6825688"/>
                <a:gd name="connsiteY9" fmla="*/ 6639269 h 9434945"/>
                <a:gd name="connsiteX10" fmla="*/ 5935068 w 6825688"/>
                <a:gd name="connsiteY10" fmla="*/ 4907095 h 9434945"/>
                <a:gd name="connsiteX11" fmla="*/ 3687884 w 6825688"/>
                <a:gd name="connsiteY11" fmla="*/ 2206107 h 9434945"/>
                <a:gd name="connsiteX12" fmla="*/ 3465424 w 6825688"/>
                <a:gd name="connsiteY12" fmla="*/ 2206107 h 9434945"/>
                <a:gd name="connsiteX13" fmla="*/ 3429462 w 6825688"/>
                <a:gd name="connsiteY13" fmla="*/ 2206107 h 9434945"/>
                <a:gd name="connsiteX14" fmla="*/ 3379178 w 6825688"/>
                <a:gd name="connsiteY14" fmla="*/ 2206107 h 9434945"/>
                <a:gd name="connsiteX15" fmla="*/ 3343216 w 6825688"/>
                <a:gd name="connsiteY15" fmla="*/ 2206107 h 9434945"/>
                <a:gd name="connsiteX16" fmla="*/ 3120756 w 6825688"/>
                <a:gd name="connsiteY16" fmla="*/ 2206107 h 9434945"/>
                <a:gd name="connsiteX17" fmla="*/ 2267520 w 6825688"/>
                <a:gd name="connsiteY17" fmla="*/ 218367 h 9434945"/>
                <a:gd name="connsiteX18" fmla="*/ 2886204 w 6825688"/>
                <a:gd name="connsiteY18" fmla="*/ 890691 h 9434945"/>
                <a:gd name="connsiteX19" fmla="*/ 3186316 w 6825688"/>
                <a:gd name="connsiteY19" fmla="*/ 1866605 h 9434945"/>
                <a:gd name="connsiteX20" fmla="*/ 3189818 w 6825688"/>
                <a:gd name="connsiteY20" fmla="*/ 1866605 h 9434945"/>
                <a:gd name="connsiteX21" fmla="*/ 3228326 w 6825688"/>
                <a:gd name="connsiteY21" fmla="*/ 1866605 h 9434945"/>
                <a:gd name="connsiteX22" fmla="*/ 3338442 w 6825688"/>
                <a:gd name="connsiteY22" fmla="*/ 1866605 h 9434945"/>
                <a:gd name="connsiteX23" fmla="*/ 3379178 w 6825688"/>
                <a:gd name="connsiteY23" fmla="*/ 1866605 h 9434945"/>
                <a:gd name="connsiteX24" fmla="*/ 3429462 w 6825688"/>
                <a:gd name="connsiteY24" fmla="*/ 1866605 h 9434945"/>
                <a:gd name="connsiteX25" fmla="*/ 3470198 w 6825688"/>
                <a:gd name="connsiteY25" fmla="*/ 1866605 h 9434945"/>
                <a:gd name="connsiteX26" fmla="*/ 3580314 w 6825688"/>
                <a:gd name="connsiteY26" fmla="*/ 1866605 h 9434945"/>
                <a:gd name="connsiteX27" fmla="*/ 3618822 w 6825688"/>
                <a:gd name="connsiteY27" fmla="*/ 1866605 h 9434945"/>
                <a:gd name="connsiteX28" fmla="*/ 3622324 w 6825688"/>
                <a:gd name="connsiteY28" fmla="*/ 1866605 h 9434945"/>
                <a:gd name="connsiteX29" fmla="*/ 3922436 w 6825688"/>
                <a:gd name="connsiteY29" fmla="*/ 890691 h 9434945"/>
                <a:gd name="connsiteX30" fmla="*/ 4541120 w 6825688"/>
                <a:gd name="connsiteY30" fmla="*/ 218367 h 9434945"/>
                <a:gd name="connsiteX31" fmla="*/ 3429462 w 6825688"/>
                <a:gd name="connsiteY31" fmla="*/ 220455 h 9434945"/>
                <a:gd name="connsiteX32" fmla="*/ 3379178 w 6825688"/>
                <a:gd name="connsiteY32" fmla="*/ 220455 h 9434945"/>
                <a:gd name="connsiteX33" fmla="*/ 2267520 w 6825688"/>
                <a:gd name="connsiteY33" fmla="*/ 218367 h 9434945"/>
                <a:gd name="connsiteX34" fmla="*/ 0 w 6825688"/>
                <a:gd name="connsiteY34" fmla="*/ 0 h 9434945"/>
                <a:gd name="connsiteX35" fmla="*/ 6825688 w 6825688"/>
                <a:gd name="connsiteY35" fmla="*/ 0 h 9434945"/>
                <a:gd name="connsiteX36" fmla="*/ 6825688 w 6825688"/>
                <a:gd name="connsiteY36" fmla="*/ 9434945 h 9434945"/>
                <a:gd name="connsiteX37" fmla="*/ 0 w 6825688"/>
                <a:gd name="connsiteY37" fmla="*/ 9434945 h 943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825688" h="9434945">
                  <a:moveTo>
                    <a:pt x="3120756" y="2206107"/>
                  </a:moveTo>
                  <a:cubicBezTo>
                    <a:pt x="2303482" y="3064260"/>
                    <a:pt x="1500530" y="3857268"/>
                    <a:pt x="873571" y="4907095"/>
                  </a:cubicBezTo>
                  <a:cubicBezTo>
                    <a:pt x="590326" y="5381898"/>
                    <a:pt x="316310" y="5976967"/>
                    <a:pt x="212559" y="6639269"/>
                  </a:cubicBezTo>
                  <a:cubicBezTo>
                    <a:pt x="-32814" y="8206493"/>
                    <a:pt x="1023468" y="8993237"/>
                    <a:pt x="2373180" y="9172802"/>
                  </a:cubicBezTo>
                  <a:cubicBezTo>
                    <a:pt x="2634148" y="9207462"/>
                    <a:pt x="2918984" y="9230848"/>
                    <a:pt x="3214960" y="9237111"/>
                  </a:cubicBezTo>
                  <a:cubicBezTo>
                    <a:pt x="3269062" y="9238364"/>
                    <a:pt x="3324120" y="9237111"/>
                    <a:pt x="3379178" y="9236694"/>
                  </a:cubicBezTo>
                  <a:cubicBezTo>
                    <a:pt x="3396046" y="9236694"/>
                    <a:pt x="3412594" y="9236276"/>
                    <a:pt x="3429462" y="9236694"/>
                  </a:cubicBezTo>
                  <a:cubicBezTo>
                    <a:pt x="3484520" y="9237111"/>
                    <a:pt x="3539578" y="9238364"/>
                    <a:pt x="3593680" y="9237111"/>
                  </a:cubicBezTo>
                  <a:cubicBezTo>
                    <a:pt x="3889656" y="9230848"/>
                    <a:pt x="4174492" y="9207462"/>
                    <a:pt x="4435460" y="9172802"/>
                  </a:cubicBezTo>
                  <a:cubicBezTo>
                    <a:pt x="5785172" y="8993237"/>
                    <a:pt x="6841454" y="8206493"/>
                    <a:pt x="6596080" y="6639269"/>
                  </a:cubicBezTo>
                  <a:cubicBezTo>
                    <a:pt x="6492330" y="5976967"/>
                    <a:pt x="6218314" y="5381898"/>
                    <a:pt x="5935068" y="4907095"/>
                  </a:cubicBezTo>
                  <a:cubicBezTo>
                    <a:pt x="5308110" y="3857268"/>
                    <a:pt x="4505158" y="3064260"/>
                    <a:pt x="3687884" y="2206107"/>
                  </a:cubicBezTo>
                  <a:cubicBezTo>
                    <a:pt x="3613730" y="2206107"/>
                    <a:pt x="3539578" y="2206107"/>
                    <a:pt x="3465424" y="2206107"/>
                  </a:cubicBezTo>
                  <a:cubicBezTo>
                    <a:pt x="3453650" y="2206107"/>
                    <a:pt x="3441556" y="2206107"/>
                    <a:pt x="3429462" y="2206107"/>
                  </a:cubicBezTo>
                  <a:cubicBezTo>
                    <a:pt x="3412594" y="2206107"/>
                    <a:pt x="3396046" y="2206107"/>
                    <a:pt x="3379178" y="2206107"/>
                  </a:cubicBezTo>
                  <a:cubicBezTo>
                    <a:pt x="3367084" y="2206107"/>
                    <a:pt x="3354990" y="2206107"/>
                    <a:pt x="3343216" y="2206107"/>
                  </a:cubicBezTo>
                  <a:cubicBezTo>
                    <a:pt x="3269062" y="2206107"/>
                    <a:pt x="3194910" y="2206107"/>
                    <a:pt x="3120756" y="2206107"/>
                  </a:cubicBezTo>
                  <a:close/>
                  <a:moveTo>
                    <a:pt x="2267520" y="218367"/>
                  </a:moveTo>
                  <a:cubicBezTo>
                    <a:pt x="2518622" y="396679"/>
                    <a:pt x="2730896" y="624685"/>
                    <a:pt x="2886204" y="890691"/>
                  </a:cubicBezTo>
                  <a:cubicBezTo>
                    <a:pt x="3059970" y="1188435"/>
                    <a:pt x="3161812" y="1522508"/>
                    <a:pt x="3186316" y="1866605"/>
                  </a:cubicBezTo>
                  <a:lnTo>
                    <a:pt x="3189818" y="1866605"/>
                  </a:lnTo>
                  <a:cubicBezTo>
                    <a:pt x="3202548" y="1866605"/>
                    <a:pt x="3215596" y="1866605"/>
                    <a:pt x="3228326" y="1866605"/>
                  </a:cubicBezTo>
                  <a:cubicBezTo>
                    <a:pt x="3265244" y="1866605"/>
                    <a:pt x="3301842" y="1866605"/>
                    <a:pt x="3338442" y="1866605"/>
                  </a:cubicBezTo>
                  <a:cubicBezTo>
                    <a:pt x="3352126" y="1866605"/>
                    <a:pt x="3365492" y="1866605"/>
                    <a:pt x="3379178" y="1866605"/>
                  </a:cubicBezTo>
                  <a:cubicBezTo>
                    <a:pt x="3396046" y="1866605"/>
                    <a:pt x="3412912" y="1866605"/>
                    <a:pt x="3429462" y="1866605"/>
                  </a:cubicBezTo>
                  <a:cubicBezTo>
                    <a:pt x="3443148" y="1866605"/>
                    <a:pt x="3456514" y="1866605"/>
                    <a:pt x="3470198" y="1866605"/>
                  </a:cubicBezTo>
                  <a:cubicBezTo>
                    <a:pt x="3506798" y="1866605"/>
                    <a:pt x="3543396" y="1866605"/>
                    <a:pt x="3580314" y="1866605"/>
                  </a:cubicBezTo>
                  <a:cubicBezTo>
                    <a:pt x="3593044" y="1866605"/>
                    <a:pt x="3606092" y="1866605"/>
                    <a:pt x="3618822" y="1866605"/>
                  </a:cubicBezTo>
                  <a:lnTo>
                    <a:pt x="3622324" y="1866605"/>
                  </a:lnTo>
                  <a:cubicBezTo>
                    <a:pt x="3646828" y="1522508"/>
                    <a:pt x="3748670" y="1188435"/>
                    <a:pt x="3922436" y="890691"/>
                  </a:cubicBezTo>
                  <a:cubicBezTo>
                    <a:pt x="4077744" y="624685"/>
                    <a:pt x="4290018" y="396679"/>
                    <a:pt x="4541120" y="218367"/>
                  </a:cubicBezTo>
                  <a:cubicBezTo>
                    <a:pt x="4170674" y="221708"/>
                    <a:pt x="3800228" y="222126"/>
                    <a:pt x="3429462" y="220455"/>
                  </a:cubicBezTo>
                  <a:cubicBezTo>
                    <a:pt x="3412594" y="220455"/>
                    <a:pt x="3396046" y="220455"/>
                    <a:pt x="3379178" y="220455"/>
                  </a:cubicBezTo>
                  <a:cubicBezTo>
                    <a:pt x="3008413" y="222126"/>
                    <a:pt x="2637966" y="221708"/>
                    <a:pt x="2267520" y="218367"/>
                  </a:cubicBezTo>
                  <a:close/>
                  <a:moveTo>
                    <a:pt x="0" y="0"/>
                  </a:moveTo>
                  <a:lnTo>
                    <a:pt x="6825688" y="0"/>
                  </a:lnTo>
                  <a:lnTo>
                    <a:pt x="6825688" y="9434945"/>
                  </a:lnTo>
                  <a:lnTo>
                    <a:pt x="0" y="943494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9" name="Shape 41719">
            <a:extLst>
              <a:ext uri="{FF2B5EF4-FFF2-40B4-BE49-F238E27FC236}">
                <a16:creationId xmlns:a16="http://schemas.microsoft.com/office/drawing/2014/main" id="{2393580B-4813-445F-837C-4A3B01301486}"/>
              </a:ext>
            </a:extLst>
          </p:cNvPr>
          <p:cNvSpPr/>
          <p:nvPr/>
        </p:nvSpPr>
        <p:spPr>
          <a:xfrm rot="5400000">
            <a:off x="9259155" y="2305959"/>
            <a:ext cx="1052932" cy="1214540"/>
          </a:xfrm>
          <a:custGeom>
            <a:avLst/>
            <a:gdLst/>
            <a:ahLst/>
            <a:cxnLst>
              <a:cxn ang="0">
                <a:pos x="wd2" y="hd2"/>
              </a:cxn>
              <a:cxn ang="5400000">
                <a:pos x="wd2" y="hd2"/>
              </a:cxn>
              <a:cxn ang="10800000">
                <a:pos x="wd2" y="hd2"/>
              </a:cxn>
              <a:cxn ang="16200000">
                <a:pos x="wd2" y="hd2"/>
              </a:cxn>
            </a:cxnLst>
            <a:rect l="0" t="0" r="r" b="b"/>
            <a:pathLst>
              <a:path w="21504" h="21513" extrusionOk="0">
                <a:moveTo>
                  <a:pt x="4399" y="0"/>
                </a:moveTo>
                <a:cubicBezTo>
                  <a:pt x="3834" y="0"/>
                  <a:pt x="3327" y="201"/>
                  <a:pt x="2957" y="522"/>
                </a:cubicBezTo>
                <a:cubicBezTo>
                  <a:pt x="2587" y="842"/>
                  <a:pt x="2356" y="1283"/>
                  <a:pt x="2356" y="1772"/>
                </a:cubicBezTo>
                <a:lnTo>
                  <a:pt x="2356" y="2415"/>
                </a:lnTo>
                <a:lnTo>
                  <a:pt x="2356" y="3551"/>
                </a:lnTo>
                <a:lnTo>
                  <a:pt x="2356" y="7143"/>
                </a:lnTo>
                <a:cubicBezTo>
                  <a:pt x="2229" y="7136"/>
                  <a:pt x="2102" y="7138"/>
                  <a:pt x="1977" y="7150"/>
                </a:cubicBezTo>
                <a:cubicBezTo>
                  <a:pt x="1225" y="7218"/>
                  <a:pt x="551" y="7601"/>
                  <a:pt x="214" y="8186"/>
                </a:cubicBezTo>
                <a:cubicBezTo>
                  <a:pt x="-21" y="8593"/>
                  <a:pt x="-74" y="9082"/>
                  <a:pt x="115" y="9543"/>
                </a:cubicBezTo>
                <a:cubicBezTo>
                  <a:pt x="852" y="11613"/>
                  <a:pt x="1671" y="13662"/>
                  <a:pt x="2578" y="15681"/>
                </a:cubicBezTo>
                <a:cubicBezTo>
                  <a:pt x="3077" y="16791"/>
                  <a:pt x="3617" y="17897"/>
                  <a:pt x="4481" y="18825"/>
                </a:cubicBezTo>
                <a:cubicBezTo>
                  <a:pt x="5214" y="19612"/>
                  <a:pt x="6220" y="20276"/>
                  <a:pt x="7513" y="20768"/>
                </a:cubicBezTo>
                <a:cubicBezTo>
                  <a:pt x="9108" y="21376"/>
                  <a:pt x="10859" y="21600"/>
                  <a:pt x="12596" y="21483"/>
                </a:cubicBezTo>
                <a:cubicBezTo>
                  <a:pt x="14857" y="21330"/>
                  <a:pt x="16991" y="20631"/>
                  <a:pt x="18528" y="19296"/>
                </a:cubicBezTo>
                <a:cubicBezTo>
                  <a:pt x="20567" y="17525"/>
                  <a:pt x="21227" y="14955"/>
                  <a:pt x="21419" y="12443"/>
                </a:cubicBezTo>
                <a:cubicBezTo>
                  <a:pt x="21526" y="11054"/>
                  <a:pt x="21507" y="9660"/>
                  <a:pt x="21495" y="8268"/>
                </a:cubicBezTo>
                <a:cubicBezTo>
                  <a:pt x="21483" y="6724"/>
                  <a:pt x="21481" y="5179"/>
                  <a:pt x="21485" y="3634"/>
                </a:cubicBezTo>
                <a:cubicBezTo>
                  <a:pt x="21487" y="3145"/>
                  <a:pt x="21262" y="2705"/>
                  <a:pt x="20892" y="2384"/>
                </a:cubicBezTo>
                <a:cubicBezTo>
                  <a:pt x="20523" y="2064"/>
                  <a:pt x="20006" y="1863"/>
                  <a:pt x="19442" y="1863"/>
                </a:cubicBezTo>
                <a:lnTo>
                  <a:pt x="19220" y="1863"/>
                </a:lnTo>
                <a:cubicBezTo>
                  <a:pt x="18658" y="1870"/>
                  <a:pt x="18152" y="2069"/>
                  <a:pt x="17778" y="2384"/>
                </a:cubicBezTo>
                <a:cubicBezTo>
                  <a:pt x="17398" y="2704"/>
                  <a:pt x="17167" y="3148"/>
                  <a:pt x="17146" y="3638"/>
                </a:cubicBezTo>
                <a:lnTo>
                  <a:pt x="16551" y="3538"/>
                </a:lnTo>
                <a:lnTo>
                  <a:pt x="16551" y="3047"/>
                </a:lnTo>
                <a:cubicBezTo>
                  <a:pt x="16551" y="2558"/>
                  <a:pt x="16322" y="2115"/>
                  <a:pt x="15952" y="1794"/>
                </a:cubicBezTo>
                <a:cubicBezTo>
                  <a:pt x="15582" y="1473"/>
                  <a:pt x="15072" y="1275"/>
                  <a:pt x="14507" y="1275"/>
                </a:cubicBezTo>
                <a:lnTo>
                  <a:pt x="14277" y="1275"/>
                </a:lnTo>
                <a:cubicBezTo>
                  <a:pt x="13716" y="1285"/>
                  <a:pt x="13211" y="1481"/>
                  <a:pt x="12836" y="1794"/>
                </a:cubicBezTo>
                <a:cubicBezTo>
                  <a:pt x="12491" y="2083"/>
                  <a:pt x="12257" y="2472"/>
                  <a:pt x="12195" y="2911"/>
                </a:cubicBezTo>
                <a:lnTo>
                  <a:pt x="12164" y="2917"/>
                </a:lnTo>
                <a:lnTo>
                  <a:pt x="11537" y="2837"/>
                </a:lnTo>
                <a:lnTo>
                  <a:pt x="11607" y="2217"/>
                </a:lnTo>
                <a:cubicBezTo>
                  <a:pt x="11607" y="1727"/>
                  <a:pt x="11379" y="1284"/>
                  <a:pt x="11009" y="964"/>
                </a:cubicBezTo>
                <a:cubicBezTo>
                  <a:pt x="10639" y="643"/>
                  <a:pt x="10128" y="445"/>
                  <a:pt x="9564" y="445"/>
                </a:cubicBezTo>
                <a:lnTo>
                  <a:pt x="9342" y="445"/>
                </a:lnTo>
                <a:cubicBezTo>
                  <a:pt x="8780" y="453"/>
                  <a:pt x="8272" y="649"/>
                  <a:pt x="7897" y="964"/>
                </a:cubicBezTo>
                <a:cubicBezTo>
                  <a:pt x="7523" y="1278"/>
                  <a:pt x="7280" y="1711"/>
                  <a:pt x="7252" y="2196"/>
                </a:cubicBezTo>
                <a:lnTo>
                  <a:pt x="7252" y="2185"/>
                </a:lnTo>
                <a:lnTo>
                  <a:pt x="6634" y="2107"/>
                </a:lnTo>
                <a:lnTo>
                  <a:pt x="6664" y="1772"/>
                </a:lnTo>
                <a:cubicBezTo>
                  <a:pt x="6664" y="1283"/>
                  <a:pt x="6441" y="842"/>
                  <a:pt x="6071" y="522"/>
                </a:cubicBezTo>
                <a:cubicBezTo>
                  <a:pt x="5701" y="201"/>
                  <a:pt x="5185" y="0"/>
                  <a:pt x="4621" y="0"/>
                </a:cubicBezTo>
                <a:lnTo>
                  <a:pt x="4399"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sz="1899" dirty="0">
              <a:latin typeface="Lato Light" panose="020F0502020204030203" pitchFamily="34" charset="0"/>
            </a:endParaRPr>
          </a:p>
        </p:txBody>
      </p:sp>
      <p:sp>
        <p:nvSpPr>
          <p:cNvPr id="10" name="Shape 41720">
            <a:extLst>
              <a:ext uri="{FF2B5EF4-FFF2-40B4-BE49-F238E27FC236}">
                <a16:creationId xmlns:a16="http://schemas.microsoft.com/office/drawing/2014/main" id="{C46C1303-8BBA-46E4-A36B-516691524E65}"/>
              </a:ext>
            </a:extLst>
          </p:cNvPr>
          <p:cNvSpPr/>
          <p:nvPr/>
        </p:nvSpPr>
        <p:spPr>
          <a:xfrm>
            <a:off x="7929237" y="2543074"/>
            <a:ext cx="1333088" cy="859690"/>
          </a:xfrm>
          <a:prstGeom prst="rect">
            <a:avLst/>
          </a:prstGeom>
          <a:solidFill>
            <a:schemeClr val="accent1"/>
          </a:solid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Tree>
    <p:extLst>
      <p:ext uri="{BB962C8B-B14F-4D97-AF65-F5344CB8AC3E}">
        <p14:creationId xmlns:p14="http://schemas.microsoft.com/office/powerpoint/2010/main" val="421248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19268" y="623504"/>
            <a:ext cx="8852375" cy="697353"/>
          </a:xfrm>
        </p:spPr>
        <p:txBody>
          <a:bodyPr>
            <a:normAutofit/>
          </a:bodyPr>
          <a:lstStyle/>
          <a:p>
            <a:r>
              <a:rPr lang="en-GB" dirty="0"/>
              <a:t>Exemplary financial measures: Equity Injection</a:t>
            </a:r>
          </a:p>
        </p:txBody>
      </p:sp>
      <p:grpSp>
        <p:nvGrpSpPr>
          <p:cNvPr id="5" name="Group 24">
            <a:extLst>
              <a:ext uri="{FF2B5EF4-FFF2-40B4-BE49-F238E27FC236}">
                <a16:creationId xmlns:a16="http://schemas.microsoft.com/office/drawing/2014/main" id="{976D68A4-3C3E-4B7E-82C3-48E2F433EA45}"/>
              </a:ext>
            </a:extLst>
          </p:cNvPr>
          <p:cNvGrpSpPr/>
          <p:nvPr/>
        </p:nvGrpSpPr>
        <p:grpSpPr>
          <a:xfrm>
            <a:off x="736262" y="2164331"/>
            <a:ext cx="2560300" cy="3539026"/>
            <a:chOff x="13617120" y="3519055"/>
            <a:chExt cx="6825688" cy="9434945"/>
          </a:xfrm>
        </p:grpSpPr>
        <p:sp>
          <p:nvSpPr>
            <p:cNvPr id="6" name="Shape 43426">
              <a:extLst>
                <a:ext uri="{FF2B5EF4-FFF2-40B4-BE49-F238E27FC236}">
                  <a16:creationId xmlns:a16="http://schemas.microsoft.com/office/drawing/2014/main" id="{80940619-31E1-40F1-BC2E-A53139BE29AF}"/>
                </a:ext>
              </a:extLst>
            </p:cNvPr>
            <p:cNvSpPr/>
            <p:nvPr/>
          </p:nvSpPr>
          <p:spPr>
            <a:xfrm>
              <a:off x="13794035" y="3737422"/>
              <a:ext cx="6454810" cy="9019162"/>
            </a:xfrm>
            <a:custGeom>
              <a:avLst/>
              <a:gdLst/>
              <a:ahLst/>
              <a:cxnLst>
                <a:cxn ang="0">
                  <a:pos x="wd2" y="hd2"/>
                </a:cxn>
                <a:cxn ang="5400000">
                  <a:pos x="wd2" y="hd2"/>
                </a:cxn>
                <a:cxn ang="10800000">
                  <a:pos x="wd2" y="hd2"/>
                </a:cxn>
                <a:cxn ang="16200000">
                  <a:pos x="wd2" y="hd2"/>
                </a:cxn>
              </a:cxnLst>
              <a:rect l="0" t="0" r="r" b="b"/>
              <a:pathLst>
                <a:path w="20282" h="21598" extrusionOk="0">
                  <a:moveTo>
                    <a:pt x="6569" y="0"/>
                  </a:moveTo>
                  <a:cubicBezTo>
                    <a:pt x="7358" y="427"/>
                    <a:pt x="8025" y="973"/>
                    <a:pt x="8513" y="1610"/>
                  </a:cubicBezTo>
                  <a:cubicBezTo>
                    <a:pt x="9059" y="2323"/>
                    <a:pt x="9379" y="3123"/>
                    <a:pt x="9456" y="3947"/>
                  </a:cubicBezTo>
                  <a:lnTo>
                    <a:pt x="9467" y="3947"/>
                  </a:lnTo>
                  <a:cubicBezTo>
                    <a:pt x="9507" y="3947"/>
                    <a:pt x="9548" y="3947"/>
                    <a:pt x="9588" y="3947"/>
                  </a:cubicBezTo>
                  <a:cubicBezTo>
                    <a:pt x="9704" y="3947"/>
                    <a:pt x="9819" y="3947"/>
                    <a:pt x="9934" y="3947"/>
                  </a:cubicBezTo>
                  <a:cubicBezTo>
                    <a:pt x="9977" y="3947"/>
                    <a:pt x="10019" y="3947"/>
                    <a:pt x="10062" y="3947"/>
                  </a:cubicBezTo>
                  <a:cubicBezTo>
                    <a:pt x="10115" y="3947"/>
                    <a:pt x="10168" y="3947"/>
                    <a:pt x="10220" y="3947"/>
                  </a:cubicBezTo>
                  <a:cubicBezTo>
                    <a:pt x="10263" y="3947"/>
                    <a:pt x="10305" y="3947"/>
                    <a:pt x="10348" y="3947"/>
                  </a:cubicBezTo>
                  <a:cubicBezTo>
                    <a:pt x="10463" y="3947"/>
                    <a:pt x="10578" y="3947"/>
                    <a:pt x="10694" y="3947"/>
                  </a:cubicBezTo>
                  <a:cubicBezTo>
                    <a:pt x="10734" y="3947"/>
                    <a:pt x="10775" y="3947"/>
                    <a:pt x="10815" y="3947"/>
                  </a:cubicBezTo>
                  <a:lnTo>
                    <a:pt x="10826" y="3947"/>
                  </a:lnTo>
                  <a:cubicBezTo>
                    <a:pt x="10903" y="3123"/>
                    <a:pt x="11223" y="2323"/>
                    <a:pt x="11769" y="1610"/>
                  </a:cubicBezTo>
                  <a:cubicBezTo>
                    <a:pt x="12257" y="973"/>
                    <a:pt x="12924" y="427"/>
                    <a:pt x="13713" y="0"/>
                  </a:cubicBezTo>
                  <a:cubicBezTo>
                    <a:pt x="12549" y="8"/>
                    <a:pt x="11385" y="9"/>
                    <a:pt x="10220" y="5"/>
                  </a:cubicBezTo>
                  <a:cubicBezTo>
                    <a:pt x="10167" y="5"/>
                    <a:pt x="10115" y="5"/>
                    <a:pt x="10062" y="5"/>
                  </a:cubicBezTo>
                  <a:cubicBezTo>
                    <a:pt x="8897" y="9"/>
                    <a:pt x="7733" y="8"/>
                    <a:pt x="6569" y="0"/>
                  </a:cubicBezTo>
                  <a:close/>
                  <a:moveTo>
                    <a:pt x="9250" y="4760"/>
                  </a:moveTo>
                  <a:cubicBezTo>
                    <a:pt x="6682" y="6815"/>
                    <a:pt x="4159" y="8714"/>
                    <a:pt x="2189" y="11228"/>
                  </a:cubicBezTo>
                  <a:cubicBezTo>
                    <a:pt x="1299" y="12365"/>
                    <a:pt x="438" y="13790"/>
                    <a:pt x="112" y="15376"/>
                  </a:cubicBezTo>
                  <a:cubicBezTo>
                    <a:pt x="-659" y="19129"/>
                    <a:pt x="2660" y="21013"/>
                    <a:pt x="6901" y="21443"/>
                  </a:cubicBezTo>
                  <a:cubicBezTo>
                    <a:pt x="7721" y="21526"/>
                    <a:pt x="8616" y="21582"/>
                    <a:pt x="9546" y="21597"/>
                  </a:cubicBezTo>
                  <a:cubicBezTo>
                    <a:pt x="9716" y="21600"/>
                    <a:pt x="9889" y="21597"/>
                    <a:pt x="10062" y="21596"/>
                  </a:cubicBezTo>
                  <a:cubicBezTo>
                    <a:pt x="10115" y="21596"/>
                    <a:pt x="10167" y="21595"/>
                    <a:pt x="10220" y="21596"/>
                  </a:cubicBezTo>
                  <a:cubicBezTo>
                    <a:pt x="10393" y="21597"/>
                    <a:pt x="10566" y="21600"/>
                    <a:pt x="10736" y="21597"/>
                  </a:cubicBezTo>
                  <a:cubicBezTo>
                    <a:pt x="11666" y="21582"/>
                    <a:pt x="12561" y="21526"/>
                    <a:pt x="13381" y="21443"/>
                  </a:cubicBezTo>
                  <a:cubicBezTo>
                    <a:pt x="17622" y="21013"/>
                    <a:pt x="20941" y="19129"/>
                    <a:pt x="20170" y="15376"/>
                  </a:cubicBezTo>
                  <a:cubicBezTo>
                    <a:pt x="19844" y="13790"/>
                    <a:pt x="18983" y="12365"/>
                    <a:pt x="18093" y="11228"/>
                  </a:cubicBezTo>
                  <a:cubicBezTo>
                    <a:pt x="16123" y="8714"/>
                    <a:pt x="13600" y="6815"/>
                    <a:pt x="11032" y="4760"/>
                  </a:cubicBezTo>
                  <a:cubicBezTo>
                    <a:pt x="10799" y="4760"/>
                    <a:pt x="10566" y="4760"/>
                    <a:pt x="10333" y="4760"/>
                  </a:cubicBezTo>
                  <a:cubicBezTo>
                    <a:pt x="10296" y="4760"/>
                    <a:pt x="10258" y="4760"/>
                    <a:pt x="10220" y="4760"/>
                  </a:cubicBezTo>
                  <a:cubicBezTo>
                    <a:pt x="10167" y="4760"/>
                    <a:pt x="10115" y="4760"/>
                    <a:pt x="10062" y="4760"/>
                  </a:cubicBezTo>
                  <a:cubicBezTo>
                    <a:pt x="10024" y="4760"/>
                    <a:pt x="9986" y="4760"/>
                    <a:pt x="9949" y="4760"/>
                  </a:cubicBezTo>
                  <a:cubicBezTo>
                    <a:pt x="9716" y="4760"/>
                    <a:pt x="9483" y="4760"/>
                    <a:pt x="9250" y="476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sz="1899" dirty="0">
                <a:latin typeface="Lato Light" panose="020F0502020204030203" pitchFamily="34" charset="0"/>
              </a:endParaRPr>
            </a:p>
          </p:txBody>
        </p:sp>
        <p:sp>
          <p:nvSpPr>
            <p:cNvPr id="7" name="Rectangle 23">
              <a:extLst>
                <a:ext uri="{FF2B5EF4-FFF2-40B4-BE49-F238E27FC236}">
                  <a16:creationId xmlns:a16="http://schemas.microsoft.com/office/drawing/2014/main" id="{C24DF448-1560-4D4C-B217-A2AF76E6A643}"/>
                </a:ext>
              </a:extLst>
            </p:cNvPr>
            <p:cNvSpPr/>
            <p:nvPr/>
          </p:nvSpPr>
          <p:spPr>
            <a:xfrm>
              <a:off x="13617120" y="8016412"/>
              <a:ext cx="6825688" cy="49375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useBgFill="1">
          <p:nvSpPr>
            <p:cNvPr id="8" name="Freeform 22">
              <a:extLst>
                <a:ext uri="{FF2B5EF4-FFF2-40B4-BE49-F238E27FC236}">
                  <a16:creationId xmlns:a16="http://schemas.microsoft.com/office/drawing/2014/main" id="{750C442B-4699-4EC7-B0C2-20A212419ECB}"/>
                </a:ext>
              </a:extLst>
            </p:cNvPr>
            <p:cNvSpPr/>
            <p:nvPr/>
          </p:nvSpPr>
          <p:spPr>
            <a:xfrm>
              <a:off x="13617120" y="3519055"/>
              <a:ext cx="6825688" cy="9434945"/>
            </a:xfrm>
            <a:custGeom>
              <a:avLst/>
              <a:gdLst>
                <a:gd name="connsiteX0" fmla="*/ 3120756 w 6825688"/>
                <a:gd name="connsiteY0" fmla="*/ 2206107 h 9434945"/>
                <a:gd name="connsiteX1" fmla="*/ 873571 w 6825688"/>
                <a:gd name="connsiteY1" fmla="*/ 4907095 h 9434945"/>
                <a:gd name="connsiteX2" fmla="*/ 212559 w 6825688"/>
                <a:gd name="connsiteY2" fmla="*/ 6639269 h 9434945"/>
                <a:gd name="connsiteX3" fmla="*/ 2373180 w 6825688"/>
                <a:gd name="connsiteY3" fmla="*/ 9172802 h 9434945"/>
                <a:gd name="connsiteX4" fmla="*/ 3214960 w 6825688"/>
                <a:gd name="connsiteY4" fmla="*/ 9237111 h 9434945"/>
                <a:gd name="connsiteX5" fmla="*/ 3379178 w 6825688"/>
                <a:gd name="connsiteY5" fmla="*/ 9236694 h 9434945"/>
                <a:gd name="connsiteX6" fmla="*/ 3429462 w 6825688"/>
                <a:gd name="connsiteY6" fmla="*/ 9236694 h 9434945"/>
                <a:gd name="connsiteX7" fmla="*/ 3593680 w 6825688"/>
                <a:gd name="connsiteY7" fmla="*/ 9237111 h 9434945"/>
                <a:gd name="connsiteX8" fmla="*/ 4435460 w 6825688"/>
                <a:gd name="connsiteY8" fmla="*/ 9172802 h 9434945"/>
                <a:gd name="connsiteX9" fmla="*/ 6596080 w 6825688"/>
                <a:gd name="connsiteY9" fmla="*/ 6639269 h 9434945"/>
                <a:gd name="connsiteX10" fmla="*/ 5935068 w 6825688"/>
                <a:gd name="connsiteY10" fmla="*/ 4907095 h 9434945"/>
                <a:gd name="connsiteX11" fmla="*/ 3687884 w 6825688"/>
                <a:gd name="connsiteY11" fmla="*/ 2206107 h 9434945"/>
                <a:gd name="connsiteX12" fmla="*/ 3465424 w 6825688"/>
                <a:gd name="connsiteY12" fmla="*/ 2206107 h 9434945"/>
                <a:gd name="connsiteX13" fmla="*/ 3429462 w 6825688"/>
                <a:gd name="connsiteY13" fmla="*/ 2206107 h 9434945"/>
                <a:gd name="connsiteX14" fmla="*/ 3379178 w 6825688"/>
                <a:gd name="connsiteY14" fmla="*/ 2206107 h 9434945"/>
                <a:gd name="connsiteX15" fmla="*/ 3343216 w 6825688"/>
                <a:gd name="connsiteY15" fmla="*/ 2206107 h 9434945"/>
                <a:gd name="connsiteX16" fmla="*/ 3120756 w 6825688"/>
                <a:gd name="connsiteY16" fmla="*/ 2206107 h 9434945"/>
                <a:gd name="connsiteX17" fmla="*/ 2267520 w 6825688"/>
                <a:gd name="connsiteY17" fmla="*/ 218367 h 9434945"/>
                <a:gd name="connsiteX18" fmla="*/ 2886204 w 6825688"/>
                <a:gd name="connsiteY18" fmla="*/ 890691 h 9434945"/>
                <a:gd name="connsiteX19" fmla="*/ 3186316 w 6825688"/>
                <a:gd name="connsiteY19" fmla="*/ 1866605 h 9434945"/>
                <a:gd name="connsiteX20" fmla="*/ 3189818 w 6825688"/>
                <a:gd name="connsiteY20" fmla="*/ 1866605 h 9434945"/>
                <a:gd name="connsiteX21" fmla="*/ 3228326 w 6825688"/>
                <a:gd name="connsiteY21" fmla="*/ 1866605 h 9434945"/>
                <a:gd name="connsiteX22" fmla="*/ 3338442 w 6825688"/>
                <a:gd name="connsiteY22" fmla="*/ 1866605 h 9434945"/>
                <a:gd name="connsiteX23" fmla="*/ 3379178 w 6825688"/>
                <a:gd name="connsiteY23" fmla="*/ 1866605 h 9434945"/>
                <a:gd name="connsiteX24" fmla="*/ 3429462 w 6825688"/>
                <a:gd name="connsiteY24" fmla="*/ 1866605 h 9434945"/>
                <a:gd name="connsiteX25" fmla="*/ 3470198 w 6825688"/>
                <a:gd name="connsiteY25" fmla="*/ 1866605 h 9434945"/>
                <a:gd name="connsiteX26" fmla="*/ 3580314 w 6825688"/>
                <a:gd name="connsiteY26" fmla="*/ 1866605 h 9434945"/>
                <a:gd name="connsiteX27" fmla="*/ 3618822 w 6825688"/>
                <a:gd name="connsiteY27" fmla="*/ 1866605 h 9434945"/>
                <a:gd name="connsiteX28" fmla="*/ 3622324 w 6825688"/>
                <a:gd name="connsiteY28" fmla="*/ 1866605 h 9434945"/>
                <a:gd name="connsiteX29" fmla="*/ 3922436 w 6825688"/>
                <a:gd name="connsiteY29" fmla="*/ 890691 h 9434945"/>
                <a:gd name="connsiteX30" fmla="*/ 4541120 w 6825688"/>
                <a:gd name="connsiteY30" fmla="*/ 218367 h 9434945"/>
                <a:gd name="connsiteX31" fmla="*/ 3429462 w 6825688"/>
                <a:gd name="connsiteY31" fmla="*/ 220455 h 9434945"/>
                <a:gd name="connsiteX32" fmla="*/ 3379178 w 6825688"/>
                <a:gd name="connsiteY32" fmla="*/ 220455 h 9434945"/>
                <a:gd name="connsiteX33" fmla="*/ 2267520 w 6825688"/>
                <a:gd name="connsiteY33" fmla="*/ 218367 h 9434945"/>
                <a:gd name="connsiteX34" fmla="*/ 0 w 6825688"/>
                <a:gd name="connsiteY34" fmla="*/ 0 h 9434945"/>
                <a:gd name="connsiteX35" fmla="*/ 6825688 w 6825688"/>
                <a:gd name="connsiteY35" fmla="*/ 0 h 9434945"/>
                <a:gd name="connsiteX36" fmla="*/ 6825688 w 6825688"/>
                <a:gd name="connsiteY36" fmla="*/ 9434945 h 9434945"/>
                <a:gd name="connsiteX37" fmla="*/ 0 w 6825688"/>
                <a:gd name="connsiteY37" fmla="*/ 9434945 h 943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825688" h="9434945">
                  <a:moveTo>
                    <a:pt x="3120756" y="2206107"/>
                  </a:moveTo>
                  <a:cubicBezTo>
                    <a:pt x="2303482" y="3064260"/>
                    <a:pt x="1500530" y="3857268"/>
                    <a:pt x="873571" y="4907095"/>
                  </a:cubicBezTo>
                  <a:cubicBezTo>
                    <a:pt x="590326" y="5381898"/>
                    <a:pt x="316310" y="5976967"/>
                    <a:pt x="212559" y="6639269"/>
                  </a:cubicBezTo>
                  <a:cubicBezTo>
                    <a:pt x="-32814" y="8206493"/>
                    <a:pt x="1023468" y="8993237"/>
                    <a:pt x="2373180" y="9172802"/>
                  </a:cubicBezTo>
                  <a:cubicBezTo>
                    <a:pt x="2634148" y="9207462"/>
                    <a:pt x="2918984" y="9230848"/>
                    <a:pt x="3214960" y="9237111"/>
                  </a:cubicBezTo>
                  <a:cubicBezTo>
                    <a:pt x="3269062" y="9238364"/>
                    <a:pt x="3324120" y="9237111"/>
                    <a:pt x="3379178" y="9236694"/>
                  </a:cubicBezTo>
                  <a:cubicBezTo>
                    <a:pt x="3396046" y="9236694"/>
                    <a:pt x="3412594" y="9236276"/>
                    <a:pt x="3429462" y="9236694"/>
                  </a:cubicBezTo>
                  <a:cubicBezTo>
                    <a:pt x="3484520" y="9237111"/>
                    <a:pt x="3539578" y="9238364"/>
                    <a:pt x="3593680" y="9237111"/>
                  </a:cubicBezTo>
                  <a:cubicBezTo>
                    <a:pt x="3889656" y="9230848"/>
                    <a:pt x="4174492" y="9207462"/>
                    <a:pt x="4435460" y="9172802"/>
                  </a:cubicBezTo>
                  <a:cubicBezTo>
                    <a:pt x="5785172" y="8993237"/>
                    <a:pt x="6841454" y="8206493"/>
                    <a:pt x="6596080" y="6639269"/>
                  </a:cubicBezTo>
                  <a:cubicBezTo>
                    <a:pt x="6492330" y="5976967"/>
                    <a:pt x="6218314" y="5381898"/>
                    <a:pt x="5935068" y="4907095"/>
                  </a:cubicBezTo>
                  <a:cubicBezTo>
                    <a:pt x="5308110" y="3857268"/>
                    <a:pt x="4505158" y="3064260"/>
                    <a:pt x="3687884" y="2206107"/>
                  </a:cubicBezTo>
                  <a:cubicBezTo>
                    <a:pt x="3613730" y="2206107"/>
                    <a:pt x="3539578" y="2206107"/>
                    <a:pt x="3465424" y="2206107"/>
                  </a:cubicBezTo>
                  <a:cubicBezTo>
                    <a:pt x="3453650" y="2206107"/>
                    <a:pt x="3441556" y="2206107"/>
                    <a:pt x="3429462" y="2206107"/>
                  </a:cubicBezTo>
                  <a:cubicBezTo>
                    <a:pt x="3412594" y="2206107"/>
                    <a:pt x="3396046" y="2206107"/>
                    <a:pt x="3379178" y="2206107"/>
                  </a:cubicBezTo>
                  <a:cubicBezTo>
                    <a:pt x="3367084" y="2206107"/>
                    <a:pt x="3354990" y="2206107"/>
                    <a:pt x="3343216" y="2206107"/>
                  </a:cubicBezTo>
                  <a:cubicBezTo>
                    <a:pt x="3269062" y="2206107"/>
                    <a:pt x="3194910" y="2206107"/>
                    <a:pt x="3120756" y="2206107"/>
                  </a:cubicBezTo>
                  <a:close/>
                  <a:moveTo>
                    <a:pt x="2267520" y="218367"/>
                  </a:moveTo>
                  <a:cubicBezTo>
                    <a:pt x="2518622" y="396679"/>
                    <a:pt x="2730896" y="624685"/>
                    <a:pt x="2886204" y="890691"/>
                  </a:cubicBezTo>
                  <a:cubicBezTo>
                    <a:pt x="3059970" y="1188435"/>
                    <a:pt x="3161812" y="1522508"/>
                    <a:pt x="3186316" y="1866605"/>
                  </a:cubicBezTo>
                  <a:lnTo>
                    <a:pt x="3189818" y="1866605"/>
                  </a:lnTo>
                  <a:cubicBezTo>
                    <a:pt x="3202548" y="1866605"/>
                    <a:pt x="3215596" y="1866605"/>
                    <a:pt x="3228326" y="1866605"/>
                  </a:cubicBezTo>
                  <a:cubicBezTo>
                    <a:pt x="3265244" y="1866605"/>
                    <a:pt x="3301842" y="1866605"/>
                    <a:pt x="3338442" y="1866605"/>
                  </a:cubicBezTo>
                  <a:cubicBezTo>
                    <a:pt x="3352126" y="1866605"/>
                    <a:pt x="3365492" y="1866605"/>
                    <a:pt x="3379178" y="1866605"/>
                  </a:cubicBezTo>
                  <a:cubicBezTo>
                    <a:pt x="3396046" y="1866605"/>
                    <a:pt x="3412912" y="1866605"/>
                    <a:pt x="3429462" y="1866605"/>
                  </a:cubicBezTo>
                  <a:cubicBezTo>
                    <a:pt x="3443148" y="1866605"/>
                    <a:pt x="3456514" y="1866605"/>
                    <a:pt x="3470198" y="1866605"/>
                  </a:cubicBezTo>
                  <a:cubicBezTo>
                    <a:pt x="3506798" y="1866605"/>
                    <a:pt x="3543396" y="1866605"/>
                    <a:pt x="3580314" y="1866605"/>
                  </a:cubicBezTo>
                  <a:cubicBezTo>
                    <a:pt x="3593044" y="1866605"/>
                    <a:pt x="3606092" y="1866605"/>
                    <a:pt x="3618822" y="1866605"/>
                  </a:cubicBezTo>
                  <a:lnTo>
                    <a:pt x="3622324" y="1866605"/>
                  </a:lnTo>
                  <a:cubicBezTo>
                    <a:pt x="3646828" y="1522508"/>
                    <a:pt x="3748670" y="1188435"/>
                    <a:pt x="3922436" y="890691"/>
                  </a:cubicBezTo>
                  <a:cubicBezTo>
                    <a:pt x="4077744" y="624685"/>
                    <a:pt x="4290018" y="396679"/>
                    <a:pt x="4541120" y="218367"/>
                  </a:cubicBezTo>
                  <a:cubicBezTo>
                    <a:pt x="4170674" y="221708"/>
                    <a:pt x="3800228" y="222126"/>
                    <a:pt x="3429462" y="220455"/>
                  </a:cubicBezTo>
                  <a:cubicBezTo>
                    <a:pt x="3412594" y="220455"/>
                    <a:pt x="3396046" y="220455"/>
                    <a:pt x="3379178" y="220455"/>
                  </a:cubicBezTo>
                  <a:cubicBezTo>
                    <a:pt x="3008413" y="222126"/>
                    <a:pt x="2637966" y="221708"/>
                    <a:pt x="2267520" y="218367"/>
                  </a:cubicBezTo>
                  <a:close/>
                  <a:moveTo>
                    <a:pt x="0" y="0"/>
                  </a:moveTo>
                  <a:lnTo>
                    <a:pt x="6825688" y="0"/>
                  </a:lnTo>
                  <a:lnTo>
                    <a:pt x="6825688" y="9434945"/>
                  </a:lnTo>
                  <a:lnTo>
                    <a:pt x="0" y="943494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9" name="Shape 41719">
            <a:extLst>
              <a:ext uri="{FF2B5EF4-FFF2-40B4-BE49-F238E27FC236}">
                <a16:creationId xmlns:a16="http://schemas.microsoft.com/office/drawing/2014/main" id="{2393580B-4813-445F-837C-4A3B01301486}"/>
              </a:ext>
            </a:extLst>
          </p:cNvPr>
          <p:cNvSpPr/>
          <p:nvPr/>
        </p:nvSpPr>
        <p:spPr>
          <a:xfrm rot="5400000">
            <a:off x="1356126" y="2305959"/>
            <a:ext cx="1052932" cy="1214540"/>
          </a:xfrm>
          <a:custGeom>
            <a:avLst/>
            <a:gdLst/>
            <a:ahLst/>
            <a:cxnLst>
              <a:cxn ang="0">
                <a:pos x="wd2" y="hd2"/>
              </a:cxn>
              <a:cxn ang="5400000">
                <a:pos x="wd2" y="hd2"/>
              </a:cxn>
              <a:cxn ang="10800000">
                <a:pos x="wd2" y="hd2"/>
              </a:cxn>
              <a:cxn ang="16200000">
                <a:pos x="wd2" y="hd2"/>
              </a:cxn>
            </a:cxnLst>
            <a:rect l="0" t="0" r="r" b="b"/>
            <a:pathLst>
              <a:path w="21504" h="21513" extrusionOk="0">
                <a:moveTo>
                  <a:pt x="4399" y="0"/>
                </a:moveTo>
                <a:cubicBezTo>
                  <a:pt x="3834" y="0"/>
                  <a:pt x="3327" y="201"/>
                  <a:pt x="2957" y="522"/>
                </a:cubicBezTo>
                <a:cubicBezTo>
                  <a:pt x="2587" y="842"/>
                  <a:pt x="2356" y="1283"/>
                  <a:pt x="2356" y="1772"/>
                </a:cubicBezTo>
                <a:lnTo>
                  <a:pt x="2356" y="2415"/>
                </a:lnTo>
                <a:lnTo>
                  <a:pt x="2356" y="3551"/>
                </a:lnTo>
                <a:lnTo>
                  <a:pt x="2356" y="7143"/>
                </a:lnTo>
                <a:cubicBezTo>
                  <a:pt x="2229" y="7136"/>
                  <a:pt x="2102" y="7138"/>
                  <a:pt x="1977" y="7150"/>
                </a:cubicBezTo>
                <a:cubicBezTo>
                  <a:pt x="1225" y="7218"/>
                  <a:pt x="551" y="7601"/>
                  <a:pt x="214" y="8186"/>
                </a:cubicBezTo>
                <a:cubicBezTo>
                  <a:pt x="-21" y="8593"/>
                  <a:pt x="-74" y="9082"/>
                  <a:pt x="115" y="9543"/>
                </a:cubicBezTo>
                <a:cubicBezTo>
                  <a:pt x="852" y="11613"/>
                  <a:pt x="1671" y="13662"/>
                  <a:pt x="2578" y="15681"/>
                </a:cubicBezTo>
                <a:cubicBezTo>
                  <a:pt x="3077" y="16791"/>
                  <a:pt x="3617" y="17897"/>
                  <a:pt x="4481" y="18825"/>
                </a:cubicBezTo>
                <a:cubicBezTo>
                  <a:pt x="5214" y="19612"/>
                  <a:pt x="6220" y="20276"/>
                  <a:pt x="7513" y="20768"/>
                </a:cubicBezTo>
                <a:cubicBezTo>
                  <a:pt x="9108" y="21376"/>
                  <a:pt x="10859" y="21600"/>
                  <a:pt x="12596" y="21483"/>
                </a:cubicBezTo>
                <a:cubicBezTo>
                  <a:pt x="14857" y="21330"/>
                  <a:pt x="16991" y="20631"/>
                  <a:pt x="18528" y="19296"/>
                </a:cubicBezTo>
                <a:cubicBezTo>
                  <a:pt x="20567" y="17525"/>
                  <a:pt x="21227" y="14955"/>
                  <a:pt x="21419" y="12443"/>
                </a:cubicBezTo>
                <a:cubicBezTo>
                  <a:pt x="21526" y="11054"/>
                  <a:pt x="21507" y="9660"/>
                  <a:pt x="21495" y="8268"/>
                </a:cubicBezTo>
                <a:cubicBezTo>
                  <a:pt x="21483" y="6724"/>
                  <a:pt x="21481" y="5179"/>
                  <a:pt x="21485" y="3634"/>
                </a:cubicBezTo>
                <a:cubicBezTo>
                  <a:pt x="21487" y="3145"/>
                  <a:pt x="21262" y="2705"/>
                  <a:pt x="20892" y="2384"/>
                </a:cubicBezTo>
                <a:cubicBezTo>
                  <a:pt x="20523" y="2064"/>
                  <a:pt x="20006" y="1863"/>
                  <a:pt x="19442" y="1863"/>
                </a:cubicBezTo>
                <a:lnTo>
                  <a:pt x="19220" y="1863"/>
                </a:lnTo>
                <a:cubicBezTo>
                  <a:pt x="18658" y="1870"/>
                  <a:pt x="18152" y="2069"/>
                  <a:pt x="17778" y="2384"/>
                </a:cubicBezTo>
                <a:cubicBezTo>
                  <a:pt x="17398" y="2704"/>
                  <a:pt x="17167" y="3148"/>
                  <a:pt x="17146" y="3638"/>
                </a:cubicBezTo>
                <a:lnTo>
                  <a:pt x="16551" y="3538"/>
                </a:lnTo>
                <a:lnTo>
                  <a:pt x="16551" y="3047"/>
                </a:lnTo>
                <a:cubicBezTo>
                  <a:pt x="16551" y="2558"/>
                  <a:pt x="16322" y="2115"/>
                  <a:pt x="15952" y="1794"/>
                </a:cubicBezTo>
                <a:cubicBezTo>
                  <a:pt x="15582" y="1473"/>
                  <a:pt x="15072" y="1275"/>
                  <a:pt x="14507" y="1275"/>
                </a:cubicBezTo>
                <a:lnTo>
                  <a:pt x="14277" y="1275"/>
                </a:lnTo>
                <a:cubicBezTo>
                  <a:pt x="13716" y="1285"/>
                  <a:pt x="13211" y="1481"/>
                  <a:pt x="12836" y="1794"/>
                </a:cubicBezTo>
                <a:cubicBezTo>
                  <a:pt x="12491" y="2083"/>
                  <a:pt x="12257" y="2472"/>
                  <a:pt x="12195" y="2911"/>
                </a:cubicBezTo>
                <a:lnTo>
                  <a:pt x="12164" y="2917"/>
                </a:lnTo>
                <a:lnTo>
                  <a:pt x="11537" y="2837"/>
                </a:lnTo>
                <a:lnTo>
                  <a:pt x="11607" y="2217"/>
                </a:lnTo>
                <a:cubicBezTo>
                  <a:pt x="11607" y="1727"/>
                  <a:pt x="11379" y="1284"/>
                  <a:pt x="11009" y="964"/>
                </a:cubicBezTo>
                <a:cubicBezTo>
                  <a:pt x="10639" y="643"/>
                  <a:pt x="10128" y="445"/>
                  <a:pt x="9564" y="445"/>
                </a:cubicBezTo>
                <a:lnTo>
                  <a:pt x="9342" y="445"/>
                </a:lnTo>
                <a:cubicBezTo>
                  <a:pt x="8780" y="453"/>
                  <a:pt x="8272" y="649"/>
                  <a:pt x="7897" y="964"/>
                </a:cubicBezTo>
                <a:cubicBezTo>
                  <a:pt x="7523" y="1278"/>
                  <a:pt x="7280" y="1711"/>
                  <a:pt x="7252" y="2196"/>
                </a:cubicBezTo>
                <a:lnTo>
                  <a:pt x="7252" y="2185"/>
                </a:lnTo>
                <a:lnTo>
                  <a:pt x="6634" y="2107"/>
                </a:lnTo>
                <a:lnTo>
                  <a:pt x="6664" y="1772"/>
                </a:lnTo>
                <a:cubicBezTo>
                  <a:pt x="6664" y="1283"/>
                  <a:pt x="6441" y="842"/>
                  <a:pt x="6071" y="522"/>
                </a:cubicBezTo>
                <a:cubicBezTo>
                  <a:pt x="5701" y="201"/>
                  <a:pt x="5185" y="0"/>
                  <a:pt x="4621" y="0"/>
                </a:cubicBezTo>
                <a:lnTo>
                  <a:pt x="4399"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sz="1899" dirty="0">
              <a:latin typeface="Lato Light" panose="020F0502020204030203" pitchFamily="34" charset="0"/>
            </a:endParaRPr>
          </a:p>
        </p:txBody>
      </p:sp>
      <p:sp>
        <p:nvSpPr>
          <p:cNvPr id="10" name="Shape 41720">
            <a:extLst>
              <a:ext uri="{FF2B5EF4-FFF2-40B4-BE49-F238E27FC236}">
                <a16:creationId xmlns:a16="http://schemas.microsoft.com/office/drawing/2014/main" id="{C46C1303-8BBA-46E4-A36B-516691524E65}"/>
              </a:ext>
            </a:extLst>
          </p:cNvPr>
          <p:cNvSpPr/>
          <p:nvPr/>
        </p:nvSpPr>
        <p:spPr>
          <a:xfrm>
            <a:off x="26208" y="2543074"/>
            <a:ext cx="1333088" cy="859690"/>
          </a:xfrm>
          <a:prstGeom prst="rect">
            <a:avLst/>
          </a:prstGeom>
          <a:solidFill>
            <a:schemeClr val="accent1"/>
          </a:solid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7" name="Subtitle 2">
            <a:extLst>
              <a:ext uri="{FF2B5EF4-FFF2-40B4-BE49-F238E27FC236}">
                <a16:creationId xmlns:a16="http://schemas.microsoft.com/office/drawing/2014/main" id="{E3285C31-E17C-4500-B867-235D9DE1D1DD}"/>
              </a:ext>
            </a:extLst>
          </p:cNvPr>
          <p:cNvSpPr txBox="1">
            <a:spLocks/>
          </p:cNvSpPr>
          <p:nvPr/>
        </p:nvSpPr>
        <p:spPr>
          <a:xfrm>
            <a:off x="4066380" y="2696017"/>
            <a:ext cx="7389358"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US" sz="2000" b="1" dirty="0">
                <a:solidFill>
                  <a:srgbClr val="245473"/>
                </a:solidFill>
                <a:latin typeface="+mj-lt"/>
                <a:ea typeface="Open Sans Light" panose="020B0306030504020204" pitchFamily="34" charset="0"/>
                <a:cs typeface="Open Sans Light" panose="020B0306030504020204" pitchFamily="34" charset="0"/>
              </a:rPr>
              <a:t>HOWEVER</a:t>
            </a:r>
          </a:p>
          <a:p>
            <a:pPr algn="just">
              <a:lnSpc>
                <a:spcPct val="100000"/>
              </a:lnSpc>
            </a:pPr>
            <a:r>
              <a:rPr lang="en-US" sz="2000" dirty="0">
                <a:solidFill>
                  <a:srgbClr val="245473"/>
                </a:solidFill>
                <a:latin typeface="+mj-lt"/>
                <a:ea typeface="Open Sans Light" panose="020B0306030504020204" pitchFamily="34" charset="0"/>
                <a:cs typeface="Open Sans Light" panose="020B0306030504020204" pitchFamily="34" charset="0"/>
              </a:rPr>
              <a:t>Many owners are hasty in injecting equity in the crisis. It is important to first develop a restructuring plan and determine the overall capital requirements. If this exceeds the possibilities of the owners, further sources of financing must be found. These usually require significant contributions from the owners. If the money is then already tied up in the company, banks in particular often refuse to support them.</a:t>
            </a:r>
          </a:p>
        </p:txBody>
      </p:sp>
    </p:spTree>
    <p:extLst>
      <p:ext uri="{BB962C8B-B14F-4D97-AF65-F5344CB8AC3E}">
        <p14:creationId xmlns:p14="http://schemas.microsoft.com/office/powerpoint/2010/main" val="1252795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78331" y="574695"/>
            <a:ext cx="8852375" cy="697353"/>
          </a:xfrm>
        </p:spPr>
        <p:txBody>
          <a:bodyPr>
            <a:normAutofit/>
          </a:bodyPr>
          <a:lstStyle/>
          <a:p>
            <a:r>
              <a:rPr lang="en-GB"/>
              <a:t>Overcoming a liquidity crisis (cont.)</a:t>
            </a:r>
            <a:endParaRPr lang="en-GB" dirty="0"/>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187177" y="2029981"/>
            <a:ext cx="2955133"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possibilities of internal financing sources depend strongly on the company and the respective industry. If the company has been successful in the past and has substantial assets or a large number of machines, there are alternatives to debt capital or the injection of equity.</a:t>
            </a:r>
            <a:endParaRPr lang="en-US" dirty="0">
              <a:solidFill>
                <a:srgbClr val="245473"/>
              </a:solidFill>
            </a:endParaRPr>
          </a:p>
        </p:txBody>
      </p:sp>
      <p:sp>
        <p:nvSpPr>
          <p:cNvPr id="19" name="Freeform 143">
            <a:extLst>
              <a:ext uri="{FF2B5EF4-FFF2-40B4-BE49-F238E27FC236}">
                <a16:creationId xmlns:a16="http://schemas.microsoft.com/office/drawing/2014/main" id="{89CAACEB-408C-457C-904A-A8C58797F7EC}"/>
              </a:ext>
            </a:extLst>
          </p:cNvPr>
          <p:cNvSpPr>
            <a:spLocks noChangeArrowheads="1"/>
          </p:cNvSpPr>
          <p:nvPr/>
        </p:nvSpPr>
        <p:spPr bwMode="auto">
          <a:xfrm>
            <a:off x="3602863" y="4545688"/>
            <a:ext cx="2636263" cy="1761834"/>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20" name="Freeform 144">
            <a:extLst>
              <a:ext uri="{FF2B5EF4-FFF2-40B4-BE49-F238E27FC236}">
                <a16:creationId xmlns:a16="http://schemas.microsoft.com/office/drawing/2014/main" id="{752B327D-D3B1-4183-99C7-D8F8C7F872FD}"/>
              </a:ext>
            </a:extLst>
          </p:cNvPr>
          <p:cNvSpPr>
            <a:spLocks noChangeArrowheads="1"/>
          </p:cNvSpPr>
          <p:nvPr/>
        </p:nvSpPr>
        <p:spPr bwMode="auto">
          <a:xfrm>
            <a:off x="3783208" y="4431928"/>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4"/>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21" name="Freeform 145">
            <a:extLst>
              <a:ext uri="{FF2B5EF4-FFF2-40B4-BE49-F238E27FC236}">
                <a16:creationId xmlns:a16="http://schemas.microsoft.com/office/drawing/2014/main" id="{1A189D7D-FB4F-49B6-A043-2F45DDFEEBE2}"/>
              </a:ext>
            </a:extLst>
          </p:cNvPr>
          <p:cNvSpPr>
            <a:spLocks noChangeArrowheads="1"/>
          </p:cNvSpPr>
          <p:nvPr/>
        </p:nvSpPr>
        <p:spPr bwMode="auto">
          <a:xfrm flipH="1">
            <a:off x="3734633" y="4431932"/>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4">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22" name="Freeform 146">
            <a:extLst>
              <a:ext uri="{FF2B5EF4-FFF2-40B4-BE49-F238E27FC236}">
                <a16:creationId xmlns:a16="http://schemas.microsoft.com/office/drawing/2014/main" id="{D982EACB-3BA0-41B1-8533-6C82EB350809}"/>
              </a:ext>
            </a:extLst>
          </p:cNvPr>
          <p:cNvSpPr>
            <a:spLocks noChangeArrowheads="1"/>
          </p:cNvSpPr>
          <p:nvPr/>
        </p:nvSpPr>
        <p:spPr bwMode="auto">
          <a:xfrm>
            <a:off x="6152186" y="4539155"/>
            <a:ext cx="93204" cy="1788822"/>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4"/>
          </a:solidFill>
          <a:ln>
            <a:noFill/>
          </a:ln>
          <a:effectLst/>
        </p:spPr>
        <p:txBody>
          <a:bodyPr wrap="none" anchor="ctr"/>
          <a:lstStyle/>
          <a:p>
            <a:endParaRPr lang="en-GB" sz="2251" dirty="0">
              <a:latin typeface="+mj-lt"/>
              <a:ea typeface="Roboto" charset="0"/>
              <a:cs typeface="Roboto" charset="0"/>
            </a:endParaRPr>
          </a:p>
        </p:txBody>
      </p:sp>
      <p:sp>
        <p:nvSpPr>
          <p:cNvPr id="23" name="TextBox 15">
            <a:extLst>
              <a:ext uri="{FF2B5EF4-FFF2-40B4-BE49-F238E27FC236}">
                <a16:creationId xmlns:a16="http://schemas.microsoft.com/office/drawing/2014/main" id="{63EA1188-0796-4BDC-8169-373AE5C6592B}"/>
              </a:ext>
            </a:extLst>
          </p:cNvPr>
          <p:cNvSpPr txBox="1"/>
          <p:nvPr/>
        </p:nvSpPr>
        <p:spPr>
          <a:xfrm>
            <a:off x="3667168" y="4592677"/>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TION</a:t>
            </a:r>
          </a:p>
        </p:txBody>
      </p:sp>
      <p:sp>
        <p:nvSpPr>
          <p:cNvPr id="24" name="TextBox 16">
            <a:extLst>
              <a:ext uri="{FF2B5EF4-FFF2-40B4-BE49-F238E27FC236}">
                <a16:creationId xmlns:a16="http://schemas.microsoft.com/office/drawing/2014/main" id="{E0D785C7-5305-470F-B9D3-0D2A3A55F0C9}"/>
              </a:ext>
            </a:extLst>
          </p:cNvPr>
          <p:cNvSpPr txBox="1"/>
          <p:nvPr/>
        </p:nvSpPr>
        <p:spPr>
          <a:xfrm>
            <a:off x="3878340" y="4785741"/>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4</a:t>
            </a:r>
            <a:endParaRPr lang="en-GB" sz="2701" b="1" dirty="0">
              <a:solidFill>
                <a:schemeClr val="bg1"/>
              </a:solidFill>
              <a:latin typeface="+mj-lt"/>
              <a:ea typeface="Roboto" charset="0"/>
              <a:cs typeface="Roboto" charset="0"/>
            </a:endParaRPr>
          </a:p>
        </p:txBody>
      </p:sp>
      <p:sp>
        <p:nvSpPr>
          <p:cNvPr id="25" name="Subtitle 2">
            <a:extLst>
              <a:ext uri="{FF2B5EF4-FFF2-40B4-BE49-F238E27FC236}">
                <a16:creationId xmlns:a16="http://schemas.microsoft.com/office/drawing/2014/main" id="{C17B8899-1C0F-4F5A-A657-D088AD7712F3}"/>
              </a:ext>
            </a:extLst>
          </p:cNvPr>
          <p:cNvSpPr txBox="1">
            <a:spLocks/>
          </p:cNvSpPr>
          <p:nvPr/>
        </p:nvSpPr>
        <p:spPr>
          <a:xfrm>
            <a:off x="4389756" y="4847862"/>
            <a:ext cx="1639693" cy="8097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a:solidFill>
                  <a:schemeClr val="tx2">
                    <a:lumMod val="50000"/>
                  </a:schemeClr>
                </a:solidFill>
                <a:latin typeface="+mj-lt"/>
                <a:ea typeface="Roboto" charset="0"/>
                <a:cs typeface="Roboto" charset="0"/>
              </a:rPr>
              <a:t>Working Capital</a:t>
            </a:r>
            <a:r>
              <a:rPr lang="en-GB" sz="1600" dirty="0">
                <a:solidFill>
                  <a:schemeClr val="tx2">
                    <a:lumMod val="50000"/>
                  </a:schemeClr>
                </a:solidFill>
                <a:latin typeface="+mj-lt"/>
                <a:ea typeface="Roboto" charset="0"/>
                <a:cs typeface="Roboto" charset="0"/>
              </a:rPr>
              <a:t> Management (see following slides)</a:t>
            </a:r>
          </a:p>
        </p:txBody>
      </p:sp>
      <p:sp>
        <p:nvSpPr>
          <p:cNvPr id="26" name="Rectangle 18">
            <a:extLst>
              <a:ext uri="{FF2B5EF4-FFF2-40B4-BE49-F238E27FC236}">
                <a16:creationId xmlns:a16="http://schemas.microsoft.com/office/drawing/2014/main" id="{F6E1DB37-007E-4BA4-A915-1EA9B3CEA96B}"/>
              </a:ext>
            </a:extLst>
          </p:cNvPr>
          <p:cNvSpPr>
            <a:spLocks/>
          </p:cNvSpPr>
          <p:nvPr/>
        </p:nvSpPr>
        <p:spPr bwMode="auto">
          <a:xfrm>
            <a:off x="4455399" y="4468504"/>
            <a:ext cx="1114792" cy="326308"/>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Working Capital</a:t>
            </a:r>
            <a:endParaRPr lang="en-GB" sz="1400" b="1" dirty="0">
              <a:solidFill>
                <a:schemeClr val="tx2">
                  <a:lumMod val="50000"/>
                </a:schemeClr>
              </a:solidFill>
              <a:latin typeface="+mj-lt"/>
              <a:ea typeface="Roboto" charset="0"/>
              <a:cs typeface="Roboto" charset="0"/>
              <a:sym typeface="Bebas Neue" charset="0"/>
            </a:endParaRPr>
          </a:p>
        </p:txBody>
      </p:sp>
      <p:sp>
        <p:nvSpPr>
          <p:cNvPr id="27" name="Freeform 143">
            <a:extLst>
              <a:ext uri="{FF2B5EF4-FFF2-40B4-BE49-F238E27FC236}">
                <a16:creationId xmlns:a16="http://schemas.microsoft.com/office/drawing/2014/main" id="{AD258395-F06C-4CAB-AD92-893ABA346BB1}"/>
              </a:ext>
            </a:extLst>
          </p:cNvPr>
          <p:cNvSpPr>
            <a:spLocks noChangeArrowheads="1"/>
          </p:cNvSpPr>
          <p:nvPr/>
        </p:nvSpPr>
        <p:spPr bwMode="auto">
          <a:xfrm>
            <a:off x="6364954" y="4540574"/>
            <a:ext cx="2620921" cy="1766948"/>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28" name="Freeform 144">
            <a:extLst>
              <a:ext uri="{FF2B5EF4-FFF2-40B4-BE49-F238E27FC236}">
                <a16:creationId xmlns:a16="http://schemas.microsoft.com/office/drawing/2014/main" id="{E6964E02-FC68-4FA8-8E87-C6BAD25DFFFF}"/>
              </a:ext>
            </a:extLst>
          </p:cNvPr>
          <p:cNvSpPr>
            <a:spLocks noChangeArrowheads="1"/>
          </p:cNvSpPr>
          <p:nvPr/>
        </p:nvSpPr>
        <p:spPr bwMode="auto">
          <a:xfrm>
            <a:off x="6545299" y="4431928"/>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5"/>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29" name="Freeform 145">
            <a:extLst>
              <a:ext uri="{FF2B5EF4-FFF2-40B4-BE49-F238E27FC236}">
                <a16:creationId xmlns:a16="http://schemas.microsoft.com/office/drawing/2014/main" id="{854FA212-CD1B-43D4-AE96-37CBA2EBF624}"/>
              </a:ext>
            </a:extLst>
          </p:cNvPr>
          <p:cNvSpPr>
            <a:spLocks noChangeArrowheads="1"/>
          </p:cNvSpPr>
          <p:nvPr/>
        </p:nvSpPr>
        <p:spPr bwMode="auto">
          <a:xfrm flipH="1">
            <a:off x="6496725" y="4431932"/>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5">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30" name="Freeform 146">
            <a:extLst>
              <a:ext uri="{FF2B5EF4-FFF2-40B4-BE49-F238E27FC236}">
                <a16:creationId xmlns:a16="http://schemas.microsoft.com/office/drawing/2014/main" id="{7188760E-93E0-48DB-BA72-D7DC251F8571}"/>
              </a:ext>
            </a:extLst>
          </p:cNvPr>
          <p:cNvSpPr>
            <a:spLocks noChangeArrowheads="1"/>
          </p:cNvSpPr>
          <p:nvPr/>
        </p:nvSpPr>
        <p:spPr bwMode="auto">
          <a:xfrm>
            <a:off x="8914278" y="4544269"/>
            <a:ext cx="67634" cy="1763251"/>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5"/>
          </a:solidFill>
          <a:ln>
            <a:noFill/>
          </a:ln>
          <a:effectLst/>
        </p:spPr>
        <p:txBody>
          <a:bodyPr wrap="none" anchor="ctr"/>
          <a:lstStyle/>
          <a:p>
            <a:endParaRPr lang="en-GB" sz="2251" dirty="0">
              <a:latin typeface="+mj-lt"/>
              <a:ea typeface="Roboto" charset="0"/>
              <a:cs typeface="Roboto" charset="0"/>
            </a:endParaRPr>
          </a:p>
        </p:txBody>
      </p:sp>
      <p:sp>
        <p:nvSpPr>
          <p:cNvPr id="31" name="TextBox 23">
            <a:extLst>
              <a:ext uri="{FF2B5EF4-FFF2-40B4-BE49-F238E27FC236}">
                <a16:creationId xmlns:a16="http://schemas.microsoft.com/office/drawing/2014/main" id="{3B77EDA4-3FB8-4D08-9065-8B75FBC05F00}"/>
              </a:ext>
            </a:extLst>
          </p:cNvPr>
          <p:cNvSpPr txBox="1"/>
          <p:nvPr/>
        </p:nvSpPr>
        <p:spPr>
          <a:xfrm>
            <a:off x="6444603" y="4592677"/>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TION</a:t>
            </a:r>
          </a:p>
        </p:txBody>
      </p:sp>
      <p:sp>
        <p:nvSpPr>
          <p:cNvPr id="32" name="TextBox 24">
            <a:extLst>
              <a:ext uri="{FF2B5EF4-FFF2-40B4-BE49-F238E27FC236}">
                <a16:creationId xmlns:a16="http://schemas.microsoft.com/office/drawing/2014/main" id="{D910A611-F047-40E6-964F-B8D30DD9DE75}"/>
              </a:ext>
            </a:extLst>
          </p:cNvPr>
          <p:cNvSpPr txBox="1"/>
          <p:nvPr/>
        </p:nvSpPr>
        <p:spPr>
          <a:xfrm>
            <a:off x="6640432" y="4785741"/>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5</a:t>
            </a:r>
            <a:endParaRPr lang="en-GB" sz="2701" b="1" dirty="0">
              <a:solidFill>
                <a:schemeClr val="bg1"/>
              </a:solidFill>
              <a:latin typeface="+mj-lt"/>
              <a:ea typeface="Roboto" charset="0"/>
              <a:cs typeface="Roboto" charset="0"/>
            </a:endParaRPr>
          </a:p>
        </p:txBody>
      </p:sp>
      <p:sp>
        <p:nvSpPr>
          <p:cNvPr id="33" name="Subtitle 2">
            <a:extLst>
              <a:ext uri="{FF2B5EF4-FFF2-40B4-BE49-F238E27FC236}">
                <a16:creationId xmlns:a16="http://schemas.microsoft.com/office/drawing/2014/main" id="{DCCF6A98-20FD-40F3-8122-838D4D897D37}"/>
              </a:ext>
            </a:extLst>
          </p:cNvPr>
          <p:cNvSpPr txBox="1">
            <a:spLocks/>
          </p:cNvSpPr>
          <p:nvPr/>
        </p:nvSpPr>
        <p:spPr>
          <a:xfrm>
            <a:off x="7151848" y="4847862"/>
            <a:ext cx="1639693" cy="8097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a:solidFill>
                  <a:schemeClr val="tx2">
                    <a:lumMod val="50000"/>
                  </a:schemeClr>
                </a:solidFill>
                <a:latin typeface="+mj-lt"/>
                <a:ea typeface="Roboto" charset="0"/>
                <a:cs typeface="Roboto" charset="0"/>
              </a:rPr>
              <a:t>Installation of </a:t>
            </a:r>
            <a:br>
              <a:rPr lang="en-GB" sz="1600" dirty="0">
                <a:solidFill>
                  <a:schemeClr val="tx2">
                    <a:lumMod val="50000"/>
                  </a:schemeClr>
                </a:solidFill>
                <a:latin typeface="+mj-lt"/>
                <a:ea typeface="Roboto" charset="0"/>
                <a:cs typeface="Roboto" charset="0"/>
              </a:rPr>
            </a:br>
            <a:r>
              <a:rPr lang="en-GB" sz="1600">
                <a:solidFill>
                  <a:schemeClr val="tx2">
                    <a:lumMod val="50000"/>
                  </a:schemeClr>
                </a:solidFill>
                <a:latin typeface="+mj-lt"/>
                <a:ea typeface="Roboto" charset="0"/>
                <a:cs typeface="Roboto" charset="0"/>
              </a:rPr>
              <a:t>a liquidity management office</a:t>
            </a:r>
          </a:p>
        </p:txBody>
      </p:sp>
      <p:sp>
        <p:nvSpPr>
          <p:cNvPr id="34" name="Rectangle 26">
            <a:extLst>
              <a:ext uri="{FF2B5EF4-FFF2-40B4-BE49-F238E27FC236}">
                <a16:creationId xmlns:a16="http://schemas.microsoft.com/office/drawing/2014/main" id="{16462CA1-55C8-4B16-97AC-370F688B6469}"/>
              </a:ext>
            </a:extLst>
          </p:cNvPr>
          <p:cNvSpPr>
            <a:spLocks/>
          </p:cNvSpPr>
          <p:nvPr/>
        </p:nvSpPr>
        <p:spPr bwMode="auto">
          <a:xfrm>
            <a:off x="7217491" y="4468504"/>
            <a:ext cx="1327415" cy="326308"/>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Cash Management</a:t>
            </a:r>
            <a:endParaRPr lang="en-GB" sz="1400" b="1" dirty="0">
              <a:solidFill>
                <a:schemeClr val="tx2">
                  <a:lumMod val="50000"/>
                </a:schemeClr>
              </a:solidFill>
              <a:latin typeface="+mj-lt"/>
              <a:ea typeface="Roboto" charset="0"/>
              <a:cs typeface="Roboto" charset="0"/>
              <a:sym typeface="Bebas Neue" charset="0"/>
            </a:endParaRPr>
          </a:p>
        </p:txBody>
      </p:sp>
      <p:sp>
        <p:nvSpPr>
          <p:cNvPr id="35" name="Freeform 143">
            <a:extLst>
              <a:ext uri="{FF2B5EF4-FFF2-40B4-BE49-F238E27FC236}">
                <a16:creationId xmlns:a16="http://schemas.microsoft.com/office/drawing/2014/main" id="{9E11ADF2-5E24-470F-A06D-4CAAE88FBC25}"/>
              </a:ext>
            </a:extLst>
          </p:cNvPr>
          <p:cNvSpPr>
            <a:spLocks noChangeArrowheads="1"/>
          </p:cNvSpPr>
          <p:nvPr/>
        </p:nvSpPr>
        <p:spPr bwMode="auto">
          <a:xfrm>
            <a:off x="9127046" y="2579962"/>
            <a:ext cx="2646492" cy="1782290"/>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36" name="Freeform 144">
            <a:extLst>
              <a:ext uri="{FF2B5EF4-FFF2-40B4-BE49-F238E27FC236}">
                <a16:creationId xmlns:a16="http://schemas.microsoft.com/office/drawing/2014/main" id="{F63621E9-197F-4A94-9257-64C8E58C40F9}"/>
              </a:ext>
            </a:extLst>
          </p:cNvPr>
          <p:cNvSpPr>
            <a:spLocks noChangeArrowheads="1"/>
          </p:cNvSpPr>
          <p:nvPr/>
        </p:nvSpPr>
        <p:spPr bwMode="auto">
          <a:xfrm>
            <a:off x="9307391" y="2466204"/>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3"/>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44" name="Freeform 145">
            <a:extLst>
              <a:ext uri="{FF2B5EF4-FFF2-40B4-BE49-F238E27FC236}">
                <a16:creationId xmlns:a16="http://schemas.microsoft.com/office/drawing/2014/main" id="{A96751AE-28C2-48F6-ADCF-8B42BE75E084}"/>
              </a:ext>
            </a:extLst>
          </p:cNvPr>
          <p:cNvSpPr>
            <a:spLocks noChangeArrowheads="1"/>
          </p:cNvSpPr>
          <p:nvPr/>
        </p:nvSpPr>
        <p:spPr bwMode="auto">
          <a:xfrm flipH="1">
            <a:off x="9258816" y="2466207"/>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3">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45" name="Freeform 146">
            <a:extLst>
              <a:ext uri="{FF2B5EF4-FFF2-40B4-BE49-F238E27FC236}">
                <a16:creationId xmlns:a16="http://schemas.microsoft.com/office/drawing/2014/main" id="{A006A893-2725-4596-85A2-9B50D06AB8FF}"/>
              </a:ext>
            </a:extLst>
          </p:cNvPr>
          <p:cNvSpPr>
            <a:spLocks noChangeArrowheads="1"/>
          </p:cNvSpPr>
          <p:nvPr/>
        </p:nvSpPr>
        <p:spPr bwMode="auto">
          <a:xfrm>
            <a:off x="11696826" y="2578544"/>
            <a:ext cx="77862" cy="1783708"/>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3"/>
          </a:solidFill>
          <a:ln>
            <a:noFill/>
          </a:ln>
          <a:effectLst/>
        </p:spPr>
        <p:txBody>
          <a:bodyPr wrap="none" anchor="ctr"/>
          <a:lstStyle/>
          <a:p>
            <a:endParaRPr lang="en-GB" sz="2251" dirty="0">
              <a:latin typeface="+mj-lt"/>
              <a:ea typeface="Roboto" charset="0"/>
              <a:cs typeface="Roboto" charset="0"/>
            </a:endParaRPr>
          </a:p>
        </p:txBody>
      </p:sp>
      <p:sp>
        <p:nvSpPr>
          <p:cNvPr id="46" name="TextBox 31">
            <a:extLst>
              <a:ext uri="{FF2B5EF4-FFF2-40B4-BE49-F238E27FC236}">
                <a16:creationId xmlns:a16="http://schemas.microsoft.com/office/drawing/2014/main" id="{F13A870C-35B2-4502-953E-5BBF350D42A1}"/>
              </a:ext>
            </a:extLst>
          </p:cNvPr>
          <p:cNvSpPr txBox="1"/>
          <p:nvPr/>
        </p:nvSpPr>
        <p:spPr>
          <a:xfrm>
            <a:off x="9201581" y="2626951"/>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TION</a:t>
            </a:r>
          </a:p>
        </p:txBody>
      </p:sp>
      <p:sp>
        <p:nvSpPr>
          <p:cNvPr id="47" name="TextBox 34">
            <a:extLst>
              <a:ext uri="{FF2B5EF4-FFF2-40B4-BE49-F238E27FC236}">
                <a16:creationId xmlns:a16="http://schemas.microsoft.com/office/drawing/2014/main" id="{32AB1C10-1C92-4CB3-ABEF-1F029CB4A5A9}"/>
              </a:ext>
            </a:extLst>
          </p:cNvPr>
          <p:cNvSpPr txBox="1"/>
          <p:nvPr/>
        </p:nvSpPr>
        <p:spPr>
          <a:xfrm>
            <a:off x="9402524" y="2820015"/>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3</a:t>
            </a:r>
            <a:endParaRPr lang="en-GB" sz="2701" b="1" dirty="0">
              <a:solidFill>
                <a:schemeClr val="bg1"/>
              </a:solidFill>
              <a:latin typeface="+mj-lt"/>
              <a:ea typeface="Roboto" charset="0"/>
              <a:cs typeface="Roboto" charset="0"/>
            </a:endParaRPr>
          </a:p>
        </p:txBody>
      </p:sp>
      <p:sp>
        <p:nvSpPr>
          <p:cNvPr id="48" name="Subtitle 2">
            <a:extLst>
              <a:ext uri="{FF2B5EF4-FFF2-40B4-BE49-F238E27FC236}">
                <a16:creationId xmlns:a16="http://schemas.microsoft.com/office/drawing/2014/main" id="{BD44A69B-B9BC-4E9E-A490-73D0098BA6A2}"/>
              </a:ext>
            </a:extLst>
          </p:cNvPr>
          <p:cNvSpPr txBox="1">
            <a:spLocks/>
          </p:cNvSpPr>
          <p:nvPr/>
        </p:nvSpPr>
        <p:spPr>
          <a:xfrm>
            <a:off x="9913940" y="2882139"/>
            <a:ext cx="1639693" cy="8097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a:solidFill>
                  <a:schemeClr val="tx2">
                    <a:lumMod val="50000"/>
                  </a:schemeClr>
                </a:solidFill>
                <a:latin typeface="+mj-lt"/>
                <a:ea typeface="Roboto" charset="0"/>
                <a:cs typeface="Roboto" charset="0"/>
              </a:rPr>
              <a:t>Sale of assets required for operations - Sale and lease back</a:t>
            </a:r>
          </a:p>
        </p:txBody>
      </p:sp>
      <p:sp>
        <p:nvSpPr>
          <p:cNvPr id="49" name="Rectangle 36">
            <a:extLst>
              <a:ext uri="{FF2B5EF4-FFF2-40B4-BE49-F238E27FC236}">
                <a16:creationId xmlns:a16="http://schemas.microsoft.com/office/drawing/2014/main" id="{2CE57749-4FEB-400E-99D1-A2CA6B15D822}"/>
              </a:ext>
            </a:extLst>
          </p:cNvPr>
          <p:cNvSpPr>
            <a:spLocks/>
          </p:cNvSpPr>
          <p:nvPr/>
        </p:nvSpPr>
        <p:spPr bwMode="auto">
          <a:xfrm>
            <a:off x="9979583" y="2502778"/>
            <a:ext cx="1404231" cy="326308"/>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Sale and Lease Back</a:t>
            </a:r>
            <a:endParaRPr lang="en-GB" sz="1400" b="1" dirty="0">
              <a:solidFill>
                <a:schemeClr val="tx2">
                  <a:lumMod val="50000"/>
                </a:schemeClr>
              </a:solidFill>
              <a:latin typeface="+mj-lt"/>
              <a:ea typeface="Roboto" charset="0"/>
              <a:cs typeface="Roboto" charset="0"/>
              <a:sym typeface="Bebas Neue" charset="0"/>
            </a:endParaRPr>
          </a:p>
        </p:txBody>
      </p:sp>
      <p:sp>
        <p:nvSpPr>
          <p:cNvPr id="50" name="Freeform 143">
            <a:extLst>
              <a:ext uri="{FF2B5EF4-FFF2-40B4-BE49-F238E27FC236}">
                <a16:creationId xmlns:a16="http://schemas.microsoft.com/office/drawing/2014/main" id="{3E8769CC-E72E-42F7-9CCC-E58033CC1C64}"/>
              </a:ext>
            </a:extLst>
          </p:cNvPr>
          <p:cNvSpPr>
            <a:spLocks noChangeArrowheads="1"/>
          </p:cNvSpPr>
          <p:nvPr/>
        </p:nvSpPr>
        <p:spPr bwMode="auto">
          <a:xfrm>
            <a:off x="3602863" y="2579962"/>
            <a:ext cx="2636263" cy="1761834"/>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solidFill>
                <a:schemeClr val="bg1">
                  <a:lumMod val="95000"/>
                </a:schemeClr>
              </a:solidFill>
              <a:latin typeface="+mj-lt"/>
              <a:ea typeface="Roboto" charset="0"/>
              <a:cs typeface="Roboto" charset="0"/>
            </a:endParaRPr>
          </a:p>
        </p:txBody>
      </p:sp>
      <p:sp>
        <p:nvSpPr>
          <p:cNvPr id="52" name="Freeform 144">
            <a:extLst>
              <a:ext uri="{FF2B5EF4-FFF2-40B4-BE49-F238E27FC236}">
                <a16:creationId xmlns:a16="http://schemas.microsoft.com/office/drawing/2014/main" id="{2D50DC0C-065A-4640-AD7F-2F90D2A174B8}"/>
              </a:ext>
            </a:extLst>
          </p:cNvPr>
          <p:cNvSpPr>
            <a:spLocks noChangeArrowheads="1"/>
          </p:cNvSpPr>
          <p:nvPr/>
        </p:nvSpPr>
        <p:spPr bwMode="auto">
          <a:xfrm>
            <a:off x="3783208" y="2466204"/>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1"/>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54" name="Freeform 145">
            <a:extLst>
              <a:ext uri="{FF2B5EF4-FFF2-40B4-BE49-F238E27FC236}">
                <a16:creationId xmlns:a16="http://schemas.microsoft.com/office/drawing/2014/main" id="{6155393A-F995-45CB-AEB0-CA183DA4DA70}"/>
              </a:ext>
            </a:extLst>
          </p:cNvPr>
          <p:cNvSpPr>
            <a:spLocks noChangeArrowheads="1"/>
          </p:cNvSpPr>
          <p:nvPr/>
        </p:nvSpPr>
        <p:spPr bwMode="auto">
          <a:xfrm flipH="1">
            <a:off x="3734633" y="2466207"/>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1">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56" name="Freeform 146">
            <a:extLst>
              <a:ext uri="{FF2B5EF4-FFF2-40B4-BE49-F238E27FC236}">
                <a16:creationId xmlns:a16="http://schemas.microsoft.com/office/drawing/2014/main" id="{4957E4CB-D3FC-4912-A02F-35B3C8B7D84C}"/>
              </a:ext>
            </a:extLst>
          </p:cNvPr>
          <p:cNvSpPr>
            <a:spLocks noChangeArrowheads="1"/>
          </p:cNvSpPr>
          <p:nvPr/>
        </p:nvSpPr>
        <p:spPr bwMode="auto">
          <a:xfrm>
            <a:off x="6177757" y="2578544"/>
            <a:ext cx="88090" cy="1763252"/>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1"/>
          </a:solidFill>
          <a:ln>
            <a:noFill/>
          </a:ln>
          <a:effectLst/>
        </p:spPr>
        <p:txBody>
          <a:bodyPr wrap="none" anchor="ctr"/>
          <a:lstStyle/>
          <a:p>
            <a:endParaRPr lang="en-GB" sz="2251" dirty="0">
              <a:latin typeface="+mj-lt"/>
              <a:ea typeface="Roboto" charset="0"/>
              <a:cs typeface="Roboto" charset="0"/>
            </a:endParaRPr>
          </a:p>
        </p:txBody>
      </p:sp>
      <p:sp>
        <p:nvSpPr>
          <p:cNvPr id="58" name="TextBox 41">
            <a:extLst>
              <a:ext uri="{FF2B5EF4-FFF2-40B4-BE49-F238E27FC236}">
                <a16:creationId xmlns:a16="http://schemas.microsoft.com/office/drawing/2014/main" id="{A0F5F3E3-F5B2-4F67-8BE0-73B065862AA8}"/>
              </a:ext>
            </a:extLst>
          </p:cNvPr>
          <p:cNvSpPr txBox="1"/>
          <p:nvPr/>
        </p:nvSpPr>
        <p:spPr>
          <a:xfrm>
            <a:off x="3667169" y="2626951"/>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TION</a:t>
            </a:r>
          </a:p>
        </p:txBody>
      </p:sp>
      <p:sp>
        <p:nvSpPr>
          <p:cNvPr id="60" name="TextBox 42">
            <a:extLst>
              <a:ext uri="{FF2B5EF4-FFF2-40B4-BE49-F238E27FC236}">
                <a16:creationId xmlns:a16="http://schemas.microsoft.com/office/drawing/2014/main" id="{6B907A4B-3662-47F3-8B7E-523E1C99BB7C}"/>
              </a:ext>
            </a:extLst>
          </p:cNvPr>
          <p:cNvSpPr txBox="1"/>
          <p:nvPr/>
        </p:nvSpPr>
        <p:spPr>
          <a:xfrm>
            <a:off x="3878340" y="2820015"/>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1</a:t>
            </a:r>
            <a:endParaRPr lang="en-GB" sz="2701" b="1" dirty="0">
              <a:solidFill>
                <a:schemeClr val="bg1"/>
              </a:solidFill>
              <a:latin typeface="+mj-lt"/>
              <a:ea typeface="Roboto" charset="0"/>
              <a:cs typeface="Roboto" charset="0"/>
            </a:endParaRPr>
          </a:p>
        </p:txBody>
      </p:sp>
      <p:sp>
        <p:nvSpPr>
          <p:cNvPr id="62" name="Subtitle 2">
            <a:extLst>
              <a:ext uri="{FF2B5EF4-FFF2-40B4-BE49-F238E27FC236}">
                <a16:creationId xmlns:a16="http://schemas.microsoft.com/office/drawing/2014/main" id="{DA0D3268-43A2-4C1C-972F-EC210112B76A}"/>
              </a:ext>
            </a:extLst>
          </p:cNvPr>
          <p:cNvSpPr txBox="1">
            <a:spLocks/>
          </p:cNvSpPr>
          <p:nvPr/>
        </p:nvSpPr>
        <p:spPr>
          <a:xfrm>
            <a:off x="4389756" y="2882139"/>
            <a:ext cx="1639693" cy="6302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dirty="0">
                <a:solidFill>
                  <a:schemeClr val="tx2">
                    <a:lumMod val="50000"/>
                  </a:schemeClr>
                </a:solidFill>
                <a:latin typeface="+mj-lt"/>
                <a:ea typeface="Roboto" charset="0"/>
                <a:cs typeface="Roboto" charset="0"/>
              </a:rPr>
              <a:t>Release of existing Liquidity reserves</a:t>
            </a:r>
          </a:p>
        </p:txBody>
      </p:sp>
      <p:sp>
        <p:nvSpPr>
          <p:cNvPr id="64" name="Rectangle 44">
            <a:extLst>
              <a:ext uri="{FF2B5EF4-FFF2-40B4-BE49-F238E27FC236}">
                <a16:creationId xmlns:a16="http://schemas.microsoft.com/office/drawing/2014/main" id="{5838300D-B1AF-406D-A4C1-73D8AC32F6B8}"/>
              </a:ext>
            </a:extLst>
          </p:cNvPr>
          <p:cNvSpPr>
            <a:spLocks/>
          </p:cNvSpPr>
          <p:nvPr/>
        </p:nvSpPr>
        <p:spPr bwMode="auto">
          <a:xfrm>
            <a:off x="4455399" y="2502778"/>
            <a:ext cx="1264449" cy="326308"/>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Liquidity Reserves</a:t>
            </a:r>
            <a:endParaRPr lang="en-GB" sz="1400" b="1" dirty="0">
              <a:solidFill>
                <a:schemeClr val="tx2">
                  <a:lumMod val="50000"/>
                </a:schemeClr>
              </a:solidFill>
              <a:latin typeface="+mj-lt"/>
              <a:ea typeface="Roboto" charset="0"/>
              <a:cs typeface="Roboto" charset="0"/>
              <a:sym typeface="Bebas Neue" charset="0"/>
            </a:endParaRPr>
          </a:p>
        </p:txBody>
      </p:sp>
      <p:sp>
        <p:nvSpPr>
          <p:cNvPr id="66" name="Freeform 143">
            <a:extLst>
              <a:ext uri="{FF2B5EF4-FFF2-40B4-BE49-F238E27FC236}">
                <a16:creationId xmlns:a16="http://schemas.microsoft.com/office/drawing/2014/main" id="{871EA91F-972E-463F-A516-5555DC5156D7}"/>
              </a:ext>
            </a:extLst>
          </p:cNvPr>
          <p:cNvSpPr>
            <a:spLocks noChangeArrowheads="1"/>
          </p:cNvSpPr>
          <p:nvPr/>
        </p:nvSpPr>
        <p:spPr bwMode="auto">
          <a:xfrm>
            <a:off x="6364954" y="2579962"/>
            <a:ext cx="2595351" cy="1761834"/>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67" name="Freeform 144">
            <a:extLst>
              <a:ext uri="{FF2B5EF4-FFF2-40B4-BE49-F238E27FC236}">
                <a16:creationId xmlns:a16="http://schemas.microsoft.com/office/drawing/2014/main" id="{5EF8FE19-C9DC-4750-8A39-D4877C8FADEC}"/>
              </a:ext>
            </a:extLst>
          </p:cNvPr>
          <p:cNvSpPr>
            <a:spLocks noChangeArrowheads="1"/>
          </p:cNvSpPr>
          <p:nvPr/>
        </p:nvSpPr>
        <p:spPr bwMode="auto">
          <a:xfrm>
            <a:off x="6545299" y="2466204"/>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2"/>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68" name="Freeform 145">
            <a:extLst>
              <a:ext uri="{FF2B5EF4-FFF2-40B4-BE49-F238E27FC236}">
                <a16:creationId xmlns:a16="http://schemas.microsoft.com/office/drawing/2014/main" id="{0D148657-F553-4DF6-B3AA-AF048E612B43}"/>
              </a:ext>
            </a:extLst>
          </p:cNvPr>
          <p:cNvSpPr>
            <a:spLocks noChangeArrowheads="1"/>
          </p:cNvSpPr>
          <p:nvPr/>
        </p:nvSpPr>
        <p:spPr bwMode="auto">
          <a:xfrm flipH="1">
            <a:off x="6496725" y="2466207"/>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2">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69" name="Freeform 146">
            <a:extLst>
              <a:ext uri="{FF2B5EF4-FFF2-40B4-BE49-F238E27FC236}">
                <a16:creationId xmlns:a16="http://schemas.microsoft.com/office/drawing/2014/main" id="{214674B2-8436-40B6-BB4F-F99223D8E2B4}"/>
              </a:ext>
            </a:extLst>
          </p:cNvPr>
          <p:cNvSpPr>
            <a:spLocks noChangeArrowheads="1"/>
          </p:cNvSpPr>
          <p:nvPr/>
        </p:nvSpPr>
        <p:spPr bwMode="auto">
          <a:xfrm>
            <a:off x="8914278" y="2578545"/>
            <a:ext cx="72748" cy="1763251"/>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2"/>
          </a:solidFill>
          <a:ln>
            <a:noFill/>
          </a:ln>
          <a:effectLst/>
        </p:spPr>
        <p:txBody>
          <a:bodyPr wrap="none" anchor="ctr"/>
          <a:lstStyle/>
          <a:p>
            <a:endParaRPr lang="en-GB" sz="2251" dirty="0">
              <a:latin typeface="+mj-lt"/>
              <a:ea typeface="Roboto" charset="0"/>
              <a:cs typeface="Roboto" charset="0"/>
            </a:endParaRPr>
          </a:p>
        </p:txBody>
      </p:sp>
      <p:sp>
        <p:nvSpPr>
          <p:cNvPr id="70" name="TextBox 49">
            <a:extLst>
              <a:ext uri="{FF2B5EF4-FFF2-40B4-BE49-F238E27FC236}">
                <a16:creationId xmlns:a16="http://schemas.microsoft.com/office/drawing/2014/main" id="{B1EBF8D8-54F5-47BA-815B-1989E6E2A138}"/>
              </a:ext>
            </a:extLst>
          </p:cNvPr>
          <p:cNvSpPr txBox="1"/>
          <p:nvPr/>
        </p:nvSpPr>
        <p:spPr>
          <a:xfrm>
            <a:off x="6444603" y="2626951"/>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TION</a:t>
            </a:r>
          </a:p>
        </p:txBody>
      </p:sp>
      <p:sp>
        <p:nvSpPr>
          <p:cNvPr id="71" name="TextBox 50">
            <a:extLst>
              <a:ext uri="{FF2B5EF4-FFF2-40B4-BE49-F238E27FC236}">
                <a16:creationId xmlns:a16="http://schemas.microsoft.com/office/drawing/2014/main" id="{008B53E9-0968-4169-B4DC-C320B689EDCC}"/>
              </a:ext>
            </a:extLst>
          </p:cNvPr>
          <p:cNvSpPr txBox="1"/>
          <p:nvPr/>
        </p:nvSpPr>
        <p:spPr>
          <a:xfrm>
            <a:off x="6640432" y="2820015"/>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2</a:t>
            </a:r>
            <a:endParaRPr lang="en-GB" sz="2701" b="1" dirty="0">
              <a:solidFill>
                <a:schemeClr val="bg1"/>
              </a:solidFill>
              <a:latin typeface="+mj-lt"/>
              <a:ea typeface="Roboto" charset="0"/>
              <a:cs typeface="Roboto" charset="0"/>
            </a:endParaRPr>
          </a:p>
        </p:txBody>
      </p:sp>
      <p:sp>
        <p:nvSpPr>
          <p:cNvPr id="72" name="Subtitle 2">
            <a:extLst>
              <a:ext uri="{FF2B5EF4-FFF2-40B4-BE49-F238E27FC236}">
                <a16:creationId xmlns:a16="http://schemas.microsoft.com/office/drawing/2014/main" id="{A236E1F9-4769-455E-8694-8D9ABE3C926B}"/>
              </a:ext>
            </a:extLst>
          </p:cNvPr>
          <p:cNvSpPr txBox="1">
            <a:spLocks/>
          </p:cNvSpPr>
          <p:nvPr/>
        </p:nvSpPr>
        <p:spPr>
          <a:xfrm>
            <a:off x="7146734" y="2882139"/>
            <a:ext cx="1767545" cy="134836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dirty="0">
                <a:solidFill>
                  <a:schemeClr val="tx2">
                    <a:lumMod val="50000"/>
                  </a:schemeClr>
                </a:solidFill>
                <a:latin typeface="+mj-lt"/>
                <a:ea typeface="Roboto" charset="0"/>
                <a:cs typeface="Roboto" charset="0"/>
              </a:rPr>
              <a:t>Sale of non-operating assets (e.g. reserve land or former production, storage and operating facilities)</a:t>
            </a:r>
          </a:p>
        </p:txBody>
      </p:sp>
      <p:sp>
        <p:nvSpPr>
          <p:cNvPr id="73" name="Rectangle 52">
            <a:extLst>
              <a:ext uri="{FF2B5EF4-FFF2-40B4-BE49-F238E27FC236}">
                <a16:creationId xmlns:a16="http://schemas.microsoft.com/office/drawing/2014/main" id="{613DC1BD-3762-48CA-81C5-60D226D60900}"/>
              </a:ext>
            </a:extLst>
          </p:cNvPr>
          <p:cNvSpPr>
            <a:spLocks/>
          </p:cNvSpPr>
          <p:nvPr/>
        </p:nvSpPr>
        <p:spPr bwMode="auto">
          <a:xfrm>
            <a:off x="7217491" y="2502776"/>
            <a:ext cx="1527919" cy="326308"/>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Non Operating Assets</a:t>
            </a:r>
            <a:endParaRPr lang="en-GB" sz="1400" b="1" dirty="0">
              <a:solidFill>
                <a:schemeClr val="tx2">
                  <a:lumMod val="50000"/>
                </a:schemeClr>
              </a:solidFill>
              <a:latin typeface="+mj-lt"/>
              <a:ea typeface="Roboto" charset="0"/>
              <a:cs typeface="Roboto" charset="0"/>
              <a:sym typeface="Bebas Neue" charset="0"/>
            </a:endParaRPr>
          </a:p>
        </p:txBody>
      </p:sp>
      <p:sp>
        <p:nvSpPr>
          <p:cNvPr id="74" name="TextBox 51">
            <a:extLst>
              <a:ext uri="{FF2B5EF4-FFF2-40B4-BE49-F238E27FC236}">
                <a16:creationId xmlns:a16="http://schemas.microsoft.com/office/drawing/2014/main" id="{93E0A6A2-CB2E-483F-8E1F-B94E4533831E}"/>
              </a:ext>
            </a:extLst>
          </p:cNvPr>
          <p:cNvSpPr txBox="1"/>
          <p:nvPr/>
        </p:nvSpPr>
        <p:spPr>
          <a:xfrm>
            <a:off x="3602863" y="1956169"/>
            <a:ext cx="2301656"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Internal Financing Sources</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861606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p:txBody>
          <a:bodyPr>
            <a:normAutofit/>
          </a:bodyPr>
          <a:lstStyle/>
          <a:p>
            <a:r>
              <a:rPr lang="en-GB" dirty="0"/>
              <a:t>Overcoming a liquidity crisis (cont.)</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222976" y="2009524"/>
            <a:ext cx="3016503" cy="456052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the event of an acute liquidity crisis and concrete insolvency risk, all relevant options should be used.</a:t>
            </a:r>
            <a:endParaRPr lang="en-US"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rovided that a coherent restructuring concept is in place, many parties involved are often prepared to support - otherwise, in case of doubt, they too would face a high risk of loss.</a:t>
            </a:r>
          </a:p>
        </p:txBody>
      </p:sp>
      <p:sp>
        <p:nvSpPr>
          <p:cNvPr id="74" name="TextBox 51">
            <a:extLst>
              <a:ext uri="{FF2B5EF4-FFF2-40B4-BE49-F238E27FC236}">
                <a16:creationId xmlns:a16="http://schemas.microsoft.com/office/drawing/2014/main" id="{93E0A6A2-CB2E-483F-8E1F-B94E4533831E}"/>
              </a:ext>
            </a:extLst>
          </p:cNvPr>
          <p:cNvSpPr txBox="1"/>
          <p:nvPr/>
        </p:nvSpPr>
        <p:spPr>
          <a:xfrm>
            <a:off x="3802029" y="1809501"/>
            <a:ext cx="8204554" cy="369332"/>
          </a:xfrm>
          <a:prstGeom prst="rect">
            <a:avLst/>
          </a:prstGeom>
          <a:noFill/>
        </p:spPr>
        <p:txBody>
          <a:bodyPr wrap="none" rtlCol="0" anchor="b" anchorCtr="0">
            <a:spAutoFit/>
          </a:bodyPr>
          <a:lstStyle/>
          <a:p>
            <a:r>
              <a:rPr lang="en-GB" b="1" dirty="0">
                <a:solidFill>
                  <a:srgbClr val="E53292"/>
                </a:solidFill>
                <a:latin typeface="+mj-lt"/>
                <a:ea typeface="League Spartan" charset="0"/>
                <a:cs typeface="Poppins" pitchFamily="2" charset="77"/>
              </a:rPr>
              <a:t>Overview of measures for prevention of insolvency and liquidity crisis by measure owner</a:t>
            </a:r>
          </a:p>
        </p:txBody>
      </p:sp>
      <p:graphicFrame>
        <p:nvGraphicFramePr>
          <p:cNvPr id="3" name="Tabelle 4">
            <a:extLst>
              <a:ext uri="{FF2B5EF4-FFF2-40B4-BE49-F238E27FC236}">
                <a16:creationId xmlns:a16="http://schemas.microsoft.com/office/drawing/2014/main" id="{FEE08F07-C98B-4852-A4C2-8601CAB4C48C}"/>
              </a:ext>
            </a:extLst>
          </p:cNvPr>
          <p:cNvGraphicFramePr>
            <a:graphicFrameLocks noGrp="1"/>
          </p:cNvGraphicFramePr>
          <p:nvPr/>
        </p:nvGraphicFramePr>
        <p:xfrm>
          <a:off x="3886710" y="2301342"/>
          <a:ext cx="8128000" cy="4389120"/>
        </p:xfrm>
        <a:graphic>
          <a:graphicData uri="http://schemas.openxmlformats.org/drawingml/2006/table">
            <a:tbl>
              <a:tblPr firstRow="1" bandRow="1">
                <a:tableStyleId>{69CF1AB2-1976-4502-BF36-3FF5EA218861}</a:tableStyleId>
              </a:tblPr>
              <a:tblGrid>
                <a:gridCol w="4064000">
                  <a:extLst>
                    <a:ext uri="{9D8B030D-6E8A-4147-A177-3AD203B41FA5}">
                      <a16:colId xmlns:a16="http://schemas.microsoft.com/office/drawing/2014/main" val="2316038855"/>
                    </a:ext>
                  </a:extLst>
                </a:gridCol>
                <a:gridCol w="4064000">
                  <a:extLst>
                    <a:ext uri="{9D8B030D-6E8A-4147-A177-3AD203B41FA5}">
                      <a16:colId xmlns:a16="http://schemas.microsoft.com/office/drawing/2014/main" val="2931104785"/>
                    </a:ext>
                  </a:extLst>
                </a:gridCol>
              </a:tblGrid>
              <a:tr h="1070550">
                <a:tc>
                  <a:txBody>
                    <a:bodyPr/>
                    <a:lstStyle/>
                    <a:p>
                      <a:r>
                        <a:rPr lang="en-GB" sz="1800">
                          <a:solidFill>
                            <a:srgbClr val="245473"/>
                          </a:solidFill>
                          <a:latin typeface="+mj-lt"/>
                        </a:rPr>
                        <a:t>Shareholder</a:t>
                      </a:r>
                    </a:p>
                    <a:p>
                      <a:pPr marL="285750" indent="-285750">
                        <a:buFont typeface="Arial" panose="020B0604020202020204" pitchFamily="34" charset="0"/>
                        <a:buChar char="•"/>
                      </a:pPr>
                      <a:r>
                        <a:rPr lang="en-GB" sz="1800" b="0">
                          <a:solidFill>
                            <a:srgbClr val="245473"/>
                          </a:solidFill>
                          <a:latin typeface="+mj-lt"/>
                        </a:rPr>
                        <a:t>Equity injection</a:t>
                      </a:r>
                    </a:p>
                    <a:p>
                      <a:pPr marL="285750" indent="-285750">
                        <a:buFont typeface="Arial" panose="020B0604020202020204" pitchFamily="34" charset="0"/>
                        <a:buChar char="•"/>
                      </a:pPr>
                      <a:r>
                        <a:rPr lang="en-GB" sz="1800" b="0">
                          <a:solidFill>
                            <a:srgbClr val="245473"/>
                          </a:solidFill>
                          <a:latin typeface="+mj-lt"/>
                        </a:rPr>
                        <a:t>Shareholder loan</a:t>
                      </a:r>
                    </a:p>
                    <a:p>
                      <a:pPr marL="285750" indent="-285750">
                        <a:buFont typeface="Arial" panose="020B0604020202020204" pitchFamily="34" charset="0"/>
                        <a:buChar char="•"/>
                      </a:pPr>
                      <a:r>
                        <a:rPr lang="en-GB" sz="1800" b="0">
                          <a:solidFill>
                            <a:srgbClr val="245473"/>
                          </a:solidFill>
                          <a:latin typeface="+mj-lt"/>
                        </a:rPr>
                        <a:t>Deposit payout</a:t>
                      </a:r>
                      <a:endParaRPr lang="en-GB" sz="1800" dirty="0">
                        <a:solidFill>
                          <a:srgbClr val="245473"/>
                        </a:solidFill>
                        <a:latin typeface="+mj-lt"/>
                      </a:endParaRPr>
                    </a:p>
                  </a:txBody>
                  <a:tcPr/>
                </a:tc>
                <a:tc>
                  <a:txBody>
                    <a:bodyPr/>
                    <a:lstStyle/>
                    <a:p>
                      <a:r>
                        <a:rPr lang="en-GB" sz="1800">
                          <a:solidFill>
                            <a:srgbClr val="245473"/>
                          </a:solidFill>
                          <a:latin typeface="+mj-lt"/>
                        </a:rPr>
                        <a:t>Tax creditor</a:t>
                      </a:r>
                    </a:p>
                    <a:p>
                      <a:pPr marL="285750" indent="-285750">
                        <a:buFont typeface="Arial" panose="020B0604020202020204" pitchFamily="34" charset="0"/>
                        <a:buChar char="•"/>
                      </a:pPr>
                      <a:r>
                        <a:rPr lang="en-GB" sz="1800" b="0">
                          <a:solidFill>
                            <a:srgbClr val="245473"/>
                          </a:solidFill>
                          <a:latin typeface="+mj-lt"/>
                        </a:rPr>
                        <a:t>Deferral of tax liability</a:t>
                      </a:r>
                    </a:p>
                    <a:p>
                      <a:pPr marL="285750" indent="-285750">
                        <a:buFont typeface="Arial" panose="020B0604020202020204" pitchFamily="34" charset="0"/>
                        <a:buChar char="•"/>
                      </a:pPr>
                      <a:r>
                        <a:rPr lang="en-GB" sz="1800" b="0">
                          <a:solidFill>
                            <a:srgbClr val="245473"/>
                          </a:solidFill>
                          <a:latin typeface="+mj-lt"/>
                        </a:rPr>
                        <a:t>Decree</a:t>
                      </a:r>
                    </a:p>
                    <a:p>
                      <a:pPr marL="285750" indent="-285750">
                        <a:buFont typeface="Arial" panose="020B0604020202020204" pitchFamily="34" charset="0"/>
                        <a:buChar char="•"/>
                      </a:pPr>
                      <a:r>
                        <a:rPr lang="en-GB" sz="1800" b="0">
                          <a:solidFill>
                            <a:srgbClr val="245473"/>
                          </a:solidFill>
                          <a:latin typeface="+mj-lt"/>
                        </a:rPr>
                        <a:t>Suspension of execution</a:t>
                      </a:r>
                      <a:endParaRPr lang="en-GB" sz="1800" b="0" dirty="0">
                        <a:solidFill>
                          <a:srgbClr val="245473"/>
                        </a:solidFill>
                        <a:latin typeface="+mj-lt"/>
                      </a:endParaRPr>
                    </a:p>
                  </a:txBody>
                  <a:tcPr/>
                </a:tc>
                <a:extLst>
                  <a:ext uri="{0D108BD9-81ED-4DB2-BD59-A6C34878D82A}">
                    <a16:rowId xmlns:a16="http://schemas.microsoft.com/office/drawing/2014/main" val="3845018571"/>
                  </a:ext>
                </a:extLst>
              </a:tr>
              <a:tr h="1101487">
                <a:tc>
                  <a:txBody>
                    <a:bodyPr/>
                    <a:lstStyle/>
                    <a:p>
                      <a:r>
                        <a:rPr lang="en-GB" sz="1800" b="1">
                          <a:solidFill>
                            <a:srgbClr val="245473"/>
                          </a:solidFill>
                          <a:latin typeface="+mj-lt"/>
                        </a:rPr>
                        <a:t>Supplier creditors</a:t>
                      </a:r>
                    </a:p>
                    <a:p>
                      <a:pPr marL="285750" indent="-285750">
                        <a:buFont typeface="Arial" panose="020B0604020202020204" pitchFamily="34" charset="0"/>
                        <a:buChar char="•"/>
                      </a:pPr>
                      <a:r>
                        <a:rPr lang="en-GB" sz="1800">
                          <a:solidFill>
                            <a:srgbClr val="245473"/>
                          </a:solidFill>
                          <a:latin typeface="+mj-lt"/>
                        </a:rPr>
                        <a:t>Prolongation of the term of payment</a:t>
                      </a:r>
                    </a:p>
                    <a:p>
                      <a:pPr marL="285750" indent="-285750">
                        <a:buFont typeface="Arial" panose="020B0604020202020204" pitchFamily="34" charset="0"/>
                        <a:buChar char="•"/>
                      </a:pPr>
                      <a:r>
                        <a:rPr lang="en-GB" sz="1800">
                          <a:solidFill>
                            <a:srgbClr val="245473"/>
                          </a:solidFill>
                          <a:latin typeface="+mj-lt"/>
                        </a:rPr>
                        <a:t>Deferral</a:t>
                      </a:r>
                    </a:p>
                    <a:p>
                      <a:pPr marL="285750" indent="-285750">
                        <a:buFont typeface="Arial" panose="020B0604020202020204" pitchFamily="34" charset="0"/>
                        <a:buChar char="•"/>
                      </a:pPr>
                      <a:r>
                        <a:rPr lang="en-GB" sz="1800">
                          <a:solidFill>
                            <a:srgbClr val="245473"/>
                          </a:solidFill>
                          <a:latin typeface="+mj-lt"/>
                        </a:rPr>
                        <a:t>Payment by instalments agreement</a:t>
                      </a:r>
                    </a:p>
                    <a:p>
                      <a:pPr marL="285750" indent="-285750">
                        <a:buFont typeface="Arial" panose="020B0604020202020204" pitchFamily="34" charset="0"/>
                        <a:buChar char="•"/>
                      </a:pPr>
                      <a:r>
                        <a:rPr lang="en-GB" sz="1800">
                          <a:solidFill>
                            <a:srgbClr val="245473"/>
                          </a:solidFill>
                          <a:latin typeface="+mj-lt"/>
                        </a:rPr>
                        <a:t>Interest remission</a:t>
                      </a:r>
                      <a:endParaRPr lang="en-GB" sz="1800" dirty="0">
                        <a:solidFill>
                          <a:srgbClr val="245473"/>
                        </a:solidFill>
                        <a:latin typeface="+mj-lt"/>
                      </a:endParaRPr>
                    </a:p>
                  </a:txBody>
                  <a:tcPr/>
                </a:tc>
                <a:tc>
                  <a:txBody>
                    <a:bodyPr/>
                    <a:lstStyle/>
                    <a:p>
                      <a:r>
                        <a:rPr lang="en-GB" sz="1800" b="1">
                          <a:solidFill>
                            <a:srgbClr val="245473"/>
                          </a:solidFill>
                          <a:latin typeface="+mj-lt"/>
                        </a:rPr>
                        <a:t>Social insurance agency</a:t>
                      </a:r>
                    </a:p>
                    <a:p>
                      <a:pPr marL="285750" indent="-285750">
                        <a:buFont typeface="Arial" panose="020B0604020202020204" pitchFamily="34" charset="0"/>
                        <a:buChar char="•"/>
                      </a:pPr>
                      <a:r>
                        <a:rPr lang="en-GB" sz="1800">
                          <a:solidFill>
                            <a:srgbClr val="245473"/>
                          </a:solidFill>
                          <a:latin typeface="+mj-lt"/>
                        </a:rPr>
                        <a:t>Deferral of contributions</a:t>
                      </a:r>
                    </a:p>
                    <a:p>
                      <a:pPr marL="285750" indent="-285750">
                        <a:buFont typeface="Arial" panose="020B0604020202020204" pitchFamily="34" charset="0"/>
                        <a:buChar char="•"/>
                      </a:pPr>
                      <a:r>
                        <a:rPr lang="en-GB" sz="1800">
                          <a:solidFill>
                            <a:srgbClr val="245473"/>
                          </a:solidFill>
                          <a:latin typeface="+mj-lt"/>
                        </a:rPr>
                        <a:t>Suspension of execution</a:t>
                      </a:r>
                      <a:endParaRPr lang="en-GB" sz="1800" dirty="0">
                        <a:solidFill>
                          <a:srgbClr val="245473"/>
                        </a:solidFill>
                        <a:latin typeface="+mj-lt"/>
                      </a:endParaRPr>
                    </a:p>
                  </a:txBody>
                  <a:tcPr/>
                </a:tc>
                <a:extLst>
                  <a:ext uri="{0D108BD9-81ED-4DB2-BD59-A6C34878D82A}">
                    <a16:rowId xmlns:a16="http://schemas.microsoft.com/office/drawing/2014/main" val="2377935020"/>
                  </a:ext>
                </a:extLst>
              </a:tr>
              <a:tr h="1308016">
                <a:tc>
                  <a:txBody>
                    <a:bodyPr/>
                    <a:lstStyle/>
                    <a:p>
                      <a:r>
                        <a:rPr lang="en-GB" sz="1800" b="1" dirty="0">
                          <a:solidFill>
                            <a:srgbClr val="245473"/>
                          </a:solidFill>
                          <a:latin typeface="+mj-lt"/>
                        </a:rPr>
                        <a:t>Creditors (banks)</a:t>
                      </a:r>
                    </a:p>
                    <a:p>
                      <a:pPr marL="285750" indent="-285750">
                        <a:buFont typeface="Arial" panose="020B0604020202020204" pitchFamily="34" charset="0"/>
                        <a:buChar char="•"/>
                      </a:pPr>
                      <a:r>
                        <a:rPr lang="en-GB" sz="1800" dirty="0">
                          <a:solidFill>
                            <a:srgbClr val="245473"/>
                          </a:solidFill>
                          <a:latin typeface="+mj-lt"/>
                        </a:rPr>
                        <a:t>Increase in credit lines</a:t>
                      </a:r>
                    </a:p>
                    <a:p>
                      <a:pPr marL="285750" indent="-285750">
                        <a:buFont typeface="Arial" panose="020B0604020202020204" pitchFamily="34" charset="0"/>
                        <a:buChar char="•"/>
                      </a:pPr>
                      <a:r>
                        <a:rPr lang="en-GB" sz="1800" dirty="0">
                          <a:solidFill>
                            <a:srgbClr val="245473"/>
                          </a:solidFill>
                          <a:latin typeface="+mj-lt"/>
                        </a:rPr>
                        <a:t>Interest concessions ("restructuring interest")</a:t>
                      </a:r>
                    </a:p>
                    <a:p>
                      <a:pPr marL="285750" indent="-285750">
                        <a:buFont typeface="Arial" panose="020B0604020202020204" pitchFamily="34" charset="0"/>
                        <a:buChar char="•"/>
                      </a:pPr>
                      <a:r>
                        <a:rPr lang="en-GB" sz="1800" dirty="0">
                          <a:solidFill>
                            <a:srgbClr val="245473"/>
                          </a:solidFill>
                          <a:latin typeface="+mj-lt"/>
                        </a:rPr>
                        <a:t>Prolongation</a:t>
                      </a:r>
                    </a:p>
                    <a:p>
                      <a:pPr marL="285750" indent="-285750">
                        <a:buFont typeface="Arial" panose="020B0604020202020204" pitchFamily="34" charset="0"/>
                        <a:buChar char="•"/>
                      </a:pPr>
                      <a:r>
                        <a:rPr lang="en-GB" sz="1800" dirty="0">
                          <a:solidFill>
                            <a:srgbClr val="245473"/>
                          </a:solidFill>
                          <a:latin typeface="+mj-lt"/>
                        </a:rPr>
                        <a:t>Waiver of repayment</a:t>
                      </a:r>
                    </a:p>
                  </a:txBody>
                  <a:tcPr/>
                </a:tc>
                <a:tc>
                  <a:txBody>
                    <a:bodyPr/>
                    <a:lstStyle/>
                    <a:p>
                      <a:r>
                        <a:rPr lang="en-GB" sz="1800" b="1" dirty="0">
                          <a:solidFill>
                            <a:srgbClr val="245473"/>
                          </a:solidFill>
                          <a:latin typeface="+mj-lt"/>
                        </a:rPr>
                        <a:t>Public sector</a:t>
                      </a:r>
                    </a:p>
                    <a:p>
                      <a:pPr marL="285750" indent="-285750">
                        <a:buFont typeface="Arial" panose="020B0604020202020204" pitchFamily="34" charset="0"/>
                        <a:buChar char="•"/>
                      </a:pPr>
                      <a:r>
                        <a:rPr lang="en-GB" sz="1800" dirty="0">
                          <a:solidFill>
                            <a:srgbClr val="245473"/>
                          </a:solidFill>
                          <a:latin typeface="+mj-lt"/>
                        </a:rPr>
                        <a:t>Subsidies</a:t>
                      </a:r>
                    </a:p>
                    <a:p>
                      <a:pPr marL="285750" indent="-285750">
                        <a:buFont typeface="Arial" panose="020B0604020202020204" pitchFamily="34" charset="0"/>
                        <a:buChar char="•"/>
                      </a:pPr>
                      <a:r>
                        <a:rPr lang="en-GB" sz="1800" dirty="0">
                          <a:solidFill>
                            <a:srgbClr val="245473"/>
                          </a:solidFill>
                          <a:latin typeface="+mj-lt"/>
                        </a:rPr>
                        <a:t>Guarantees</a:t>
                      </a:r>
                    </a:p>
                    <a:p>
                      <a:pPr marL="285750" indent="-285750">
                        <a:buFont typeface="Arial" panose="020B0604020202020204" pitchFamily="34" charset="0"/>
                        <a:buChar char="•"/>
                      </a:pPr>
                      <a:r>
                        <a:rPr lang="en-GB" sz="1800" dirty="0">
                          <a:solidFill>
                            <a:srgbClr val="245473"/>
                          </a:solidFill>
                          <a:latin typeface="+mj-lt"/>
                        </a:rPr>
                        <a:t>Approval of structural crisis cartels</a:t>
                      </a:r>
                    </a:p>
                  </a:txBody>
                  <a:tcPr/>
                </a:tc>
                <a:extLst>
                  <a:ext uri="{0D108BD9-81ED-4DB2-BD59-A6C34878D82A}">
                    <a16:rowId xmlns:a16="http://schemas.microsoft.com/office/drawing/2014/main" val="3037919259"/>
                  </a:ext>
                </a:extLst>
              </a:tr>
            </a:tbl>
          </a:graphicData>
        </a:graphic>
      </p:graphicFrame>
    </p:spTree>
    <p:extLst>
      <p:ext uri="{BB962C8B-B14F-4D97-AF65-F5344CB8AC3E}">
        <p14:creationId xmlns:p14="http://schemas.microsoft.com/office/powerpoint/2010/main" val="4191889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55981" y="524626"/>
            <a:ext cx="8852375" cy="697353"/>
          </a:xfrm>
        </p:spPr>
        <p:txBody>
          <a:bodyPr>
            <a:normAutofit/>
          </a:bodyPr>
          <a:lstStyle/>
          <a:p>
            <a:r>
              <a:rPr lang="en-GB"/>
              <a:t>Immediate operational measures</a:t>
            </a:r>
            <a:endParaRPr lang="en-GB" dirty="0"/>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555392" y="2326598"/>
            <a:ext cx="2520436" cy="34679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Complementary objectives serve to secure equity and liquidity in the short term.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In the medium term to make the company competitive on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the cost side</a:t>
            </a:r>
            <a:endParaRPr lang="en-US" dirty="0">
              <a:solidFill>
                <a:srgbClr val="245473"/>
              </a:solidFill>
            </a:endParaRPr>
          </a:p>
        </p:txBody>
      </p:sp>
      <p:graphicFrame>
        <p:nvGraphicFramePr>
          <p:cNvPr id="5" name="Diagramm 4">
            <a:extLst>
              <a:ext uri="{FF2B5EF4-FFF2-40B4-BE49-F238E27FC236}">
                <a16:creationId xmlns:a16="http://schemas.microsoft.com/office/drawing/2014/main" id="{BEB98607-C343-41EC-86B2-C2281900C00C}"/>
              </a:ext>
            </a:extLst>
          </p:cNvPr>
          <p:cNvGraphicFramePr/>
          <p:nvPr/>
        </p:nvGraphicFramePr>
        <p:xfrm>
          <a:off x="4107465" y="1886291"/>
          <a:ext cx="7883984" cy="51273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Geschweifte Klammer links 5">
            <a:extLst>
              <a:ext uri="{FF2B5EF4-FFF2-40B4-BE49-F238E27FC236}">
                <a16:creationId xmlns:a16="http://schemas.microsoft.com/office/drawing/2014/main" id="{1927B242-A7B8-4A31-9223-6B354D9F389F}"/>
              </a:ext>
            </a:extLst>
          </p:cNvPr>
          <p:cNvSpPr/>
          <p:nvPr/>
        </p:nvSpPr>
        <p:spPr>
          <a:xfrm>
            <a:off x="4369219" y="3472060"/>
            <a:ext cx="121920" cy="198555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 name="Geschweifte Klammer links 7">
            <a:extLst>
              <a:ext uri="{FF2B5EF4-FFF2-40B4-BE49-F238E27FC236}">
                <a16:creationId xmlns:a16="http://schemas.microsoft.com/office/drawing/2014/main" id="{B17663EC-C369-40EB-BABE-DDABE755E008}"/>
              </a:ext>
            </a:extLst>
          </p:cNvPr>
          <p:cNvSpPr/>
          <p:nvPr/>
        </p:nvSpPr>
        <p:spPr>
          <a:xfrm flipH="1">
            <a:off x="11269269" y="3594798"/>
            <a:ext cx="121920" cy="239485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 name="Subtitle 2">
            <a:extLst>
              <a:ext uri="{FF2B5EF4-FFF2-40B4-BE49-F238E27FC236}">
                <a16:creationId xmlns:a16="http://schemas.microsoft.com/office/drawing/2014/main" id="{D36700DA-B29D-4DAD-98B8-F9B89C46DBF5}"/>
              </a:ext>
            </a:extLst>
          </p:cNvPr>
          <p:cNvSpPr txBox="1">
            <a:spLocks/>
          </p:cNvSpPr>
          <p:nvPr/>
        </p:nvSpPr>
        <p:spPr>
          <a:xfrm rot="16200000">
            <a:off x="3030564" y="3971511"/>
            <a:ext cx="1788001" cy="100570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b="1" dirty="0">
                <a:solidFill>
                  <a:schemeClr val="tx2">
                    <a:lumMod val="50000"/>
                  </a:schemeClr>
                </a:solidFill>
                <a:latin typeface="+mj-lt"/>
                <a:ea typeface="Roboto" charset="0"/>
                <a:cs typeface="Roboto" charset="0"/>
              </a:rPr>
              <a:t>Avoiding the risk of over-indebtedness</a:t>
            </a:r>
          </a:p>
        </p:txBody>
      </p:sp>
      <p:sp>
        <p:nvSpPr>
          <p:cNvPr id="10" name="Subtitle 2">
            <a:extLst>
              <a:ext uri="{FF2B5EF4-FFF2-40B4-BE49-F238E27FC236}">
                <a16:creationId xmlns:a16="http://schemas.microsoft.com/office/drawing/2014/main" id="{CE26D60F-77AF-4DFF-B0C3-2465DE5D1BA6}"/>
              </a:ext>
            </a:extLst>
          </p:cNvPr>
          <p:cNvSpPr txBox="1">
            <a:spLocks/>
          </p:cNvSpPr>
          <p:nvPr/>
        </p:nvSpPr>
        <p:spPr>
          <a:xfrm rot="5400000">
            <a:off x="10305781" y="4366729"/>
            <a:ext cx="2874205" cy="66715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900" dirty="0">
                <a:solidFill>
                  <a:srgbClr val="245473"/>
                </a:solidFill>
                <a:latin typeface="+mj-lt"/>
                <a:ea typeface="Roboto" charset="0"/>
                <a:cs typeface="Roboto" charset="0"/>
              </a:rPr>
              <a:t>Prevention of impending illiquidity</a:t>
            </a:r>
          </a:p>
        </p:txBody>
      </p:sp>
    </p:spTree>
    <p:extLst>
      <p:ext uri="{BB962C8B-B14F-4D97-AF65-F5344CB8AC3E}">
        <p14:creationId xmlns:p14="http://schemas.microsoft.com/office/powerpoint/2010/main" val="35934340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99524" y="578384"/>
            <a:ext cx="8852375" cy="697353"/>
          </a:xfrm>
        </p:spPr>
        <p:txBody>
          <a:bodyPr>
            <a:normAutofit/>
          </a:bodyPr>
          <a:lstStyle/>
          <a:p>
            <a:r>
              <a:rPr lang="en-GB" dirty="0"/>
              <a:t>Working Capital Management</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169631" y="2213106"/>
            <a:ext cx="2520436"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Working Capital Management or Working Capital Controlling is intended to optimally control the so-called working capital, the capital tied up in a company</a:t>
            </a:r>
            <a:endParaRPr lang="en-US" sz="2200" dirty="0">
              <a:solidFill>
                <a:srgbClr val="245473"/>
              </a:solidFill>
            </a:endParaRPr>
          </a:p>
        </p:txBody>
      </p:sp>
      <p:grpSp>
        <p:nvGrpSpPr>
          <p:cNvPr id="11" name="Group 1">
            <a:extLst>
              <a:ext uri="{FF2B5EF4-FFF2-40B4-BE49-F238E27FC236}">
                <a16:creationId xmlns:a16="http://schemas.microsoft.com/office/drawing/2014/main" id="{D31FD468-53C5-42D0-92C9-BE11EC1FB67F}"/>
              </a:ext>
            </a:extLst>
          </p:cNvPr>
          <p:cNvGrpSpPr/>
          <p:nvPr/>
        </p:nvGrpSpPr>
        <p:grpSpPr>
          <a:xfrm rot="5400000">
            <a:off x="5896522" y="2310674"/>
            <a:ext cx="3855966" cy="3432275"/>
            <a:chOff x="7042447" y="3221289"/>
            <a:chExt cx="10279897" cy="9150350"/>
          </a:xfrm>
        </p:grpSpPr>
        <p:sp>
          <p:nvSpPr>
            <p:cNvPr id="12" name="Freeform 20">
              <a:extLst>
                <a:ext uri="{FF2B5EF4-FFF2-40B4-BE49-F238E27FC236}">
                  <a16:creationId xmlns:a16="http://schemas.microsoft.com/office/drawing/2014/main" id="{5420AE3B-72D0-4A9E-BDD2-7738E01B9BC1}"/>
                </a:ext>
              </a:extLst>
            </p:cNvPr>
            <p:cNvSpPr/>
            <p:nvPr/>
          </p:nvSpPr>
          <p:spPr>
            <a:xfrm>
              <a:off x="7629558" y="3221289"/>
              <a:ext cx="9692786" cy="6079229"/>
            </a:xfrm>
            <a:custGeom>
              <a:avLst/>
              <a:gdLst>
                <a:gd name="connsiteX0" fmla="*/ 4559267 w 9692786"/>
                <a:gd name="connsiteY0" fmla="*/ 0 h 6079229"/>
                <a:gd name="connsiteX1" fmla="*/ 9128489 w 9692786"/>
                <a:gd name="connsiteY1" fmla="*/ 4339737 h 6079229"/>
                <a:gd name="connsiteX2" fmla="*/ 9130974 w 9692786"/>
                <a:gd name="connsiteY2" fmla="*/ 4438015 h 6079229"/>
                <a:gd name="connsiteX3" fmla="*/ 9692786 w 9692786"/>
                <a:gd name="connsiteY3" fmla="*/ 4438015 h 6079229"/>
                <a:gd name="connsiteX4" fmla="*/ 7652876 w 9692786"/>
                <a:gd name="connsiteY4" fmla="*/ 6079229 h 6079229"/>
                <a:gd name="connsiteX5" fmla="*/ 5612967 w 9692786"/>
                <a:gd name="connsiteY5" fmla="*/ 4438015 h 6079229"/>
                <a:gd name="connsiteX6" fmla="*/ 6197848 w 9692786"/>
                <a:gd name="connsiteY6" fmla="*/ 4438015 h 6079229"/>
                <a:gd name="connsiteX7" fmla="*/ 6196278 w 9692786"/>
                <a:gd name="connsiteY7" fmla="*/ 4406932 h 6079229"/>
                <a:gd name="connsiteX8" fmla="*/ 4559267 w 9692786"/>
                <a:gd name="connsiteY8" fmla="*/ 2929668 h 6079229"/>
                <a:gd name="connsiteX9" fmla="*/ 2981845 w 9692786"/>
                <a:gd name="connsiteY9" fmla="*/ 4105225 h 6079229"/>
                <a:gd name="connsiteX10" fmla="*/ 2948426 w 9692786"/>
                <a:gd name="connsiteY10" fmla="*/ 4274432 h 6079229"/>
                <a:gd name="connsiteX11" fmla="*/ 1452798 w 9692786"/>
                <a:gd name="connsiteY11" fmla="*/ 3071121 h 6079229"/>
                <a:gd name="connsiteX12" fmla="*/ 0 w 9692786"/>
                <a:gd name="connsiteY12" fmla="*/ 4239974 h 6079229"/>
                <a:gd name="connsiteX13" fmla="*/ 34661 w 9692786"/>
                <a:gd name="connsiteY13" fmla="*/ 3892627 h 6079229"/>
                <a:gd name="connsiteX14" fmla="*/ 4559267 w 9692786"/>
                <a:gd name="connsiteY14" fmla="*/ 0 h 607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92786" h="6079229">
                  <a:moveTo>
                    <a:pt x="4559267" y="0"/>
                  </a:moveTo>
                  <a:cubicBezTo>
                    <a:pt x="7007104" y="0"/>
                    <a:pt x="9005951" y="1922353"/>
                    <a:pt x="9128489" y="4339737"/>
                  </a:cubicBezTo>
                  <a:lnTo>
                    <a:pt x="9130974" y="4438015"/>
                  </a:lnTo>
                  <a:lnTo>
                    <a:pt x="9692786" y="4438015"/>
                  </a:lnTo>
                  <a:lnTo>
                    <a:pt x="7652876" y="6079229"/>
                  </a:lnTo>
                  <a:lnTo>
                    <a:pt x="5612967" y="4438015"/>
                  </a:lnTo>
                  <a:lnTo>
                    <a:pt x="6197848" y="4438015"/>
                  </a:lnTo>
                  <a:lnTo>
                    <a:pt x="6196278" y="4406932"/>
                  </a:lnTo>
                  <a:cubicBezTo>
                    <a:pt x="6112012" y="3577175"/>
                    <a:pt x="5411256" y="2929668"/>
                    <a:pt x="4559267" y="2929668"/>
                  </a:cubicBezTo>
                  <a:cubicBezTo>
                    <a:pt x="3813777" y="2929668"/>
                    <a:pt x="3184074" y="3425416"/>
                    <a:pt x="2981845" y="4105225"/>
                  </a:cubicBezTo>
                  <a:lnTo>
                    <a:pt x="2948426" y="4274432"/>
                  </a:lnTo>
                  <a:lnTo>
                    <a:pt x="1452798" y="3071121"/>
                  </a:lnTo>
                  <a:lnTo>
                    <a:pt x="0" y="4239974"/>
                  </a:lnTo>
                  <a:lnTo>
                    <a:pt x="34661" y="3892627"/>
                  </a:lnTo>
                  <a:cubicBezTo>
                    <a:pt x="364193" y="1689568"/>
                    <a:pt x="2264420" y="0"/>
                    <a:pt x="455926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solidFill>
                  <a:schemeClr val="tx1"/>
                </a:solidFill>
                <a:latin typeface="+mj-lt"/>
              </a:endParaRPr>
            </a:p>
          </p:txBody>
        </p:sp>
        <p:sp>
          <p:nvSpPr>
            <p:cNvPr id="13" name="Freeform 21">
              <a:extLst>
                <a:ext uri="{FF2B5EF4-FFF2-40B4-BE49-F238E27FC236}">
                  <a16:creationId xmlns:a16="http://schemas.microsoft.com/office/drawing/2014/main" id="{6968CE24-488A-46FB-9486-4096DE4DEE97}"/>
                </a:ext>
              </a:extLst>
            </p:cNvPr>
            <p:cNvSpPr/>
            <p:nvPr/>
          </p:nvSpPr>
          <p:spPr>
            <a:xfrm>
              <a:off x="7042447" y="6292410"/>
              <a:ext cx="9706767" cy="6079229"/>
            </a:xfrm>
            <a:custGeom>
              <a:avLst/>
              <a:gdLst>
                <a:gd name="connsiteX0" fmla="*/ 2039909 w 9706767"/>
                <a:gd name="connsiteY0" fmla="*/ 0 h 6079229"/>
                <a:gd name="connsiteX1" fmla="*/ 4079818 w 9706767"/>
                <a:gd name="connsiteY1" fmla="*/ 1641214 h 6079229"/>
                <a:gd name="connsiteX2" fmla="*/ 3507797 w 9706767"/>
                <a:gd name="connsiteY2" fmla="*/ 1641214 h 6079229"/>
                <a:gd name="connsiteX3" fmla="*/ 3509367 w 9706767"/>
                <a:gd name="connsiteY3" fmla="*/ 1672297 h 6079229"/>
                <a:gd name="connsiteX4" fmla="*/ 5146378 w 9706767"/>
                <a:gd name="connsiteY4" fmla="*/ 3149561 h 6079229"/>
                <a:gd name="connsiteX5" fmla="*/ 6723800 w 9706767"/>
                <a:gd name="connsiteY5" fmla="*/ 1974005 h 6079229"/>
                <a:gd name="connsiteX6" fmla="*/ 6755456 w 9706767"/>
                <a:gd name="connsiteY6" fmla="*/ 1813725 h 6079229"/>
                <a:gd name="connsiteX7" fmla="*/ 8239987 w 9706767"/>
                <a:gd name="connsiteY7" fmla="*/ 3008108 h 6079229"/>
                <a:gd name="connsiteX8" fmla="*/ 9706767 w 9706767"/>
                <a:gd name="connsiteY8" fmla="*/ 1828007 h 6079229"/>
                <a:gd name="connsiteX9" fmla="*/ 9670984 w 9706767"/>
                <a:gd name="connsiteY9" fmla="*/ 2186602 h 6079229"/>
                <a:gd name="connsiteX10" fmla="*/ 5146378 w 9706767"/>
                <a:gd name="connsiteY10" fmla="*/ 6079229 h 6079229"/>
                <a:gd name="connsiteX11" fmla="*/ 577156 w 9706767"/>
                <a:gd name="connsiteY11" fmla="*/ 1739492 h 6079229"/>
                <a:gd name="connsiteX12" fmla="*/ 574671 w 9706767"/>
                <a:gd name="connsiteY12" fmla="*/ 1641214 h 6079229"/>
                <a:gd name="connsiteX13" fmla="*/ 0 w 9706767"/>
                <a:gd name="connsiteY13" fmla="*/ 1641214 h 607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06767" h="6079229">
                  <a:moveTo>
                    <a:pt x="2039909" y="0"/>
                  </a:moveTo>
                  <a:lnTo>
                    <a:pt x="4079818" y="1641214"/>
                  </a:lnTo>
                  <a:lnTo>
                    <a:pt x="3507797" y="1641214"/>
                  </a:lnTo>
                  <a:lnTo>
                    <a:pt x="3509367" y="1672297"/>
                  </a:lnTo>
                  <a:cubicBezTo>
                    <a:pt x="3593633" y="2502054"/>
                    <a:pt x="4294389" y="3149561"/>
                    <a:pt x="5146378" y="3149561"/>
                  </a:cubicBezTo>
                  <a:cubicBezTo>
                    <a:pt x="5891868" y="3149561"/>
                    <a:pt x="6521571" y="2653814"/>
                    <a:pt x="6723800" y="1974005"/>
                  </a:cubicBezTo>
                  <a:lnTo>
                    <a:pt x="6755456" y="1813725"/>
                  </a:lnTo>
                  <a:lnTo>
                    <a:pt x="8239987" y="3008108"/>
                  </a:lnTo>
                  <a:lnTo>
                    <a:pt x="9706767" y="1828007"/>
                  </a:lnTo>
                  <a:lnTo>
                    <a:pt x="9670984" y="2186602"/>
                  </a:lnTo>
                  <a:cubicBezTo>
                    <a:pt x="9341452" y="4389661"/>
                    <a:pt x="7441225" y="6079229"/>
                    <a:pt x="5146378" y="6079229"/>
                  </a:cubicBezTo>
                  <a:cubicBezTo>
                    <a:pt x="2698541" y="6079229"/>
                    <a:pt x="699694" y="4156876"/>
                    <a:pt x="577156" y="1739492"/>
                  </a:cubicBezTo>
                  <a:lnTo>
                    <a:pt x="574671"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solidFill>
                  <a:schemeClr val="tx1"/>
                </a:solidFill>
                <a:latin typeface="+mj-lt"/>
              </a:endParaRPr>
            </a:p>
          </p:txBody>
        </p:sp>
      </p:grpSp>
      <p:sp>
        <p:nvSpPr>
          <p:cNvPr id="14" name="TextBox 22">
            <a:extLst>
              <a:ext uri="{FF2B5EF4-FFF2-40B4-BE49-F238E27FC236}">
                <a16:creationId xmlns:a16="http://schemas.microsoft.com/office/drawing/2014/main" id="{1755BDE4-73B2-4B50-B44C-9ECA4CDB895C}"/>
              </a:ext>
            </a:extLst>
          </p:cNvPr>
          <p:cNvSpPr txBox="1"/>
          <p:nvPr/>
        </p:nvSpPr>
        <p:spPr>
          <a:xfrm>
            <a:off x="7669729" y="2734622"/>
            <a:ext cx="364202" cy="307777"/>
          </a:xfrm>
          <a:prstGeom prst="rect">
            <a:avLst/>
          </a:prstGeom>
          <a:noFill/>
        </p:spPr>
        <p:txBody>
          <a:bodyPr wrap="none" rtlCol="0" anchor="ctr" anchorCtr="0">
            <a:spAutoFit/>
          </a:bodyPr>
          <a:lstStyle/>
          <a:p>
            <a:pPr algn="ctr"/>
            <a:r>
              <a:rPr lang="en-GB" sz="1400" b="1">
                <a:solidFill>
                  <a:schemeClr val="bg1"/>
                </a:solidFill>
                <a:latin typeface="+mj-lt"/>
                <a:ea typeface="League Spartan" charset="0"/>
                <a:cs typeface="Poppins" pitchFamily="2" charset="77"/>
              </a:rPr>
              <a:t>01</a:t>
            </a:r>
            <a:endParaRPr lang="en-GB" sz="1400" b="1" dirty="0">
              <a:solidFill>
                <a:schemeClr val="bg1"/>
              </a:solidFill>
              <a:latin typeface="+mj-lt"/>
              <a:ea typeface="League Spartan" charset="0"/>
              <a:cs typeface="Poppins" pitchFamily="2" charset="77"/>
            </a:endParaRPr>
          </a:p>
        </p:txBody>
      </p:sp>
      <p:sp>
        <p:nvSpPr>
          <p:cNvPr id="15" name="TextBox 23">
            <a:extLst>
              <a:ext uri="{FF2B5EF4-FFF2-40B4-BE49-F238E27FC236}">
                <a16:creationId xmlns:a16="http://schemas.microsoft.com/office/drawing/2014/main" id="{C50C8639-B2C4-4983-9431-A814BDD11686}"/>
              </a:ext>
            </a:extLst>
          </p:cNvPr>
          <p:cNvSpPr txBox="1"/>
          <p:nvPr/>
        </p:nvSpPr>
        <p:spPr>
          <a:xfrm>
            <a:off x="7458619" y="5077367"/>
            <a:ext cx="364202" cy="307777"/>
          </a:xfrm>
          <a:prstGeom prst="rect">
            <a:avLst/>
          </a:prstGeom>
          <a:noFill/>
        </p:spPr>
        <p:txBody>
          <a:bodyPr wrap="none" rtlCol="0" anchor="ctr" anchorCtr="0">
            <a:spAutoFit/>
          </a:bodyPr>
          <a:lstStyle/>
          <a:p>
            <a:pPr algn="ctr"/>
            <a:r>
              <a:rPr lang="en-GB" sz="1400" b="1">
                <a:solidFill>
                  <a:schemeClr val="bg1"/>
                </a:solidFill>
                <a:latin typeface="+mj-lt"/>
                <a:ea typeface="League Spartan" charset="0"/>
                <a:cs typeface="Poppins" pitchFamily="2" charset="77"/>
              </a:rPr>
              <a:t>02</a:t>
            </a:r>
            <a:endParaRPr lang="en-GB" sz="1400" b="1" dirty="0">
              <a:solidFill>
                <a:schemeClr val="bg1"/>
              </a:solidFill>
              <a:latin typeface="+mj-lt"/>
              <a:ea typeface="League Spartan" charset="0"/>
              <a:cs typeface="Poppins" pitchFamily="2" charset="77"/>
            </a:endParaRPr>
          </a:p>
        </p:txBody>
      </p:sp>
      <p:sp>
        <p:nvSpPr>
          <p:cNvPr id="16" name="TextBox 24">
            <a:extLst>
              <a:ext uri="{FF2B5EF4-FFF2-40B4-BE49-F238E27FC236}">
                <a16:creationId xmlns:a16="http://schemas.microsoft.com/office/drawing/2014/main" id="{8D015B4C-7BDE-4CF6-B1DF-C9FF97DCD775}"/>
              </a:ext>
            </a:extLst>
          </p:cNvPr>
          <p:cNvSpPr txBox="1"/>
          <p:nvPr/>
        </p:nvSpPr>
        <p:spPr>
          <a:xfrm>
            <a:off x="9631455" y="1741060"/>
            <a:ext cx="1809470" cy="338554"/>
          </a:xfrm>
          <a:prstGeom prst="rect">
            <a:avLst/>
          </a:prstGeom>
          <a:noFill/>
        </p:spPr>
        <p:txBody>
          <a:bodyPr wrap="none" lIns="91440" tIns="45720" rIns="91440" bIns="45720" rtlCol="0" anchor="b" anchorCtr="0">
            <a:spAutoFit/>
          </a:bodyPr>
          <a:lstStyle/>
          <a:p>
            <a:r>
              <a:rPr lang="en-GB" sz="1600" b="1">
                <a:solidFill>
                  <a:schemeClr val="tx2"/>
                </a:solidFill>
                <a:latin typeface="+mj-lt"/>
                <a:ea typeface="League Spartan" charset="0"/>
                <a:cs typeface="Poppins" pitchFamily="2" charset="77"/>
              </a:rPr>
              <a:t>Structural Measures</a:t>
            </a:r>
          </a:p>
        </p:txBody>
      </p:sp>
      <p:sp>
        <p:nvSpPr>
          <p:cNvPr id="17" name="Subtitle 2">
            <a:extLst>
              <a:ext uri="{FF2B5EF4-FFF2-40B4-BE49-F238E27FC236}">
                <a16:creationId xmlns:a16="http://schemas.microsoft.com/office/drawing/2014/main" id="{B3A360FC-7259-4651-A29F-042977C2617C}"/>
              </a:ext>
            </a:extLst>
          </p:cNvPr>
          <p:cNvSpPr txBox="1">
            <a:spLocks/>
          </p:cNvSpPr>
          <p:nvPr/>
        </p:nvSpPr>
        <p:spPr>
          <a:xfrm>
            <a:off x="9627583" y="2169356"/>
            <a:ext cx="2394785" cy="39126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hortening of processing times</a:t>
            </a:r>
            <a:endParaRPr lang="en-US" sz="2800" dirty="0">
              <a:solidFill>
                <a:srgbClr val="245473"/>
              </a:solidFill>
            </a:endParaRP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tion of product variety, complexity and special design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ntroduction Modular desig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et up consignment warehous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erging of warehous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Optimization of the stock accounting</a:t>
            </a:r>
          </a:p>
        </p:txBody>
      </p:sp>
      <p:sp>
        <p:nvSpPr>
          <p:cNvPr id="18" name="TextBox 26">
            <a:extLst>
              <a:ext uri="{FF2B5EF4-FFF2-40B4-BE49-F238E27FC236}">
                <a16:creationId xmlns:a16="http://schemas.microsoft.com/office/drawing/2014/main" id="{3F005DF6-025C-4D79-AAD4-7099F96A9B84}"/>
              </a:ext>
            </a:extLst>
          </p:cNvPr>
          <p:cNvSpPr txBox="1"/>
          <p:nvPr/>
        </p:nvSpPr>
        <p:spPr>
          <a:xfrm>
            <a:off x="3299048" y="1767590"/>
            <a:ext cx="1808700" cy="338554"/>
          </a:xfrm>
          <a:prstGeom prst="rect">
            <a:avLst/>
          </a:prstGeom>
          <a:noFill/>
        </p:spPr>
        <p:txBody>
          <a:bodyPr wrap="none" lIns="91440" tIns="45720" rIns="91440" bIns="45720" rtlCol="0" anchor="b" anchorCtr="0">
            <a:spAutoFit/>
          </a:bodyPr>
          <a:lstStyle/>
          <a:p>
            <a:r>
              <a:rPr lang="en-GB" sz="1600" b="1" dirty="0">
                <a:solidFill>
                  <a:schemeClr val="tx2"/>
                </a:solidFill>
                <a:latin typeface="+mj-lt"/>
                <a:ea typeface="League Spartan" charset="0"/>
                <a:cs typeface="Poppins" pitchFamily="2" charset="77"/>
              </a:rPr>
              <a:t>Operative Measures</a:t>
            </a:r>
          </a:p>
        </p:txBody>
      </p:sp>
      <p:sp>
        <p:nvSpPr>
          <p:cNvPr id="19" name="Subtitle 2">
            <a:extLst>
              <a:ext uri="{FF2B5EF4-FFF2-40B4-BE49-F238E27FC236}">
                <a16:creationId xmlns:a16="http://schemas.microsoft.com/office/drawing/2014/main" id="{971A53F2-068D-4409-ACFB-86187A4F300D}"/>
              </a:ext>
            </a:extLst>
          </p:cNvPr>
          <p:cNvSpPr txBox="1">
            <a:spLocks/>
          </p:cNvSpPr>
          <p:nvPr/>
        </p:nvSpPr>
        <p:spPr>
          <a:xfrm>
            <a:off x="3189844" y="2114386"/>
            <a:ext cx="2823681" cy="4743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pecial sale of old stocks, return to suppliers</a:t>
            </a:r>
            <a:endParaRPr lang="en-US" sz="2800" dirty="0">
              <a:solidFill>
                <a:srgbClr val="245473"/>
              </a:solidFill>
            </a:endParaRP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bringing forward customer-related production order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view/reduction of lot sizes (especially in the case of missing customer reference)</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heck the relationship of setup costs to inventory financing</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hanges in the supplier relationship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mprovement of the planning system/</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accuracy</a:t>
            </a:r>
          </a:p>
        </p:txBody>
      </p:sp>
      <p:sp>
        <p:nvSpPr>
          <p:cNvPr id="20" name="Freeform 939">
            <a:extLst>
              <a:ext uri="{FF2B5EF4-FFF2-40B4-BE49-F238E27FC236}">
                <a16:creationId xmlns:a16="http://schemas.microsoft.com/office/drawing/2014/main" id="{BD41693A-4E30-4866-9046-1A26BCBA80B3}"/>
              </a:ext>
            </a:extLst>
          </p:cNvPr>
          <p:cNvSpPr>
            <a:spLocks noChangeAspect="1" noChangeArrowheads="1"/>
          </p:cNvSpPr>
          <p:nvPr/>
        </p:nvSpPr>
        <p:spPr bwMode="auto">
          <a:xfrm>
            <a:off x="6340177" y="3777789"/>
            <a:ext cx="488673" cy="488673"/>
          </a:xfrm>
          <a:custGeom>
            <a:avLst/>
            <a:gdLst>
              <a:gd name="T0" fmla="*/ 4423137 w 283804"/>
              <a:gd name="T1" fmla="*/ 5500321 h 283803"/>
              <a:gd name="T2" fmla="*/ 4782176 w 283804"/>
              <a:gd name="T3" fmla="*/ 5213102 h 283803"/>
              <a:gd name="T4" fmla="*/ 524141 w 283804"/>
              <a:gd name="T5" fmla="*/ 5500321 h 283803"/>
              <a:gd name="T6" fmla="*/ 890359 w 283804"/>
              <a:gd name="T7" fmla="*/ 5213102 h 283803"/>
              <a:gd name="T8" fmla="*/ 1443264 w 283804"/>
              <a:gd name="T9" fmla="*/ 5500321 h 283803"/>
              <a:gd name="T10" fmla="*/ 2032045 w 283804"/>
              <a:gd name="T11" fmla="*/ 4983312 h 283803"/>
              <a:gd name="T12" fmla="*/ 2814722 w 283804"/>
              <a:gd name="T13" fmla="*/ 5500321 h 283803"/>
              <a:gd name="T14" fmla="*/ 3525599 w 283804"/>
              <a:gd name="T15" fmla="*/ 4875617 h 283803"/>
              <a:gd name="T16" fmla="*/ 2261833 w 283804"/>
              <a:gd name="T17" fmla="*/ 4301159 h 283803"/>
              <a:gd name="T18" fmla="*/ 1349935 w 283804"/>
              <a:gd name="T19" fmla="*/ 3094826 h 283803"/>
              <a:gd name="T20" fmla="*/ 4100000 w 283804"/>
              <a:gd name="T21" fmla="*/ 2635265 h 283803"/>
              <a:gd name="T22" fmla="*/ 3180915 w 283804"/>
              <a:gd name="T23" fmla="*/ 3841594 h 283803"/>
              <a:gd name="T24" fmla="*/ 4100000 w 283804"/>
              <a:gd name="T25" fmla="*/ 2635265 h 283803"/>
              <a:gd name="T26" fmla="*/ 3514448 w 283804"/>
              <a:gd name="T27" fmla="*/ 1233697 h 283803"/>
              <a:gd name="T28" fmla="*/ 3331676 w 283804"/>
              <a:gd name="T29" fmla="*/ 1233697 h 283803"/>
              <a:gd name="T30" fmla="*/ 2026933 w 283804"/>
              <a:gd name="T31" fmla="*/ 1142307 h 283803"/>
              <a:gd name="T32" fmla="*/ 2026933 w 283804"/>
              <a:gd name="T33" fmla="*/ 1325094 h 283803"/>
              <a:gd name="T34" fmla="*/ 2026933 w 283804"/>
              <a:gd name="T35" fmla="*/ 1142307 h 283803"/>
              <a:gd name="T36" fmla="*/ 2815631 w 283804"/>
              <a:gd name="T37" fmla="*/ 467788 h 283803"/>
              <a:gd name="T38" fmla="*/ 3112344 w 283804"/>
              <a:gd name="T39" fmla="*/ 786703 h 283803"/>
              <a:gd name="T40" fmla="*/ 2953142 w 283804"/>
              <a:gd name="T41" fmla="*/ 851932 h 283803"/>
              <a:gd name="T42" fmla="*/ 2489989 w 283804"/>
              <a:gd name="T43" fmla="*/ 924459 h 283803"/>
              <a:gd name="T44" fmla="*/ 3134070 w 283804"/>
              <a:gd name="T45" fmla="*/ 1511611 h 283803"/>
              <a:gd name="T46" fmla="*/ 2815631 w 283804"/>
              <a:gd name="T47" fmla="*/ 1975491 h 283803"/>
              <a:gd name="T48" fmla="*/ 2641965 w 283804"/>
              <a:gd name="T49" fmla="*/ 1975491 h 283803"/>
              <a:gd name="T50" fmla="*/ 2345249 w 283804"/>
              <a:gd name="T51" fmla="*/ 1656573 h 283803"/>
              <a:gd name="T52" fmla="*/ 2504471 w 283804"/>
              <a:gd name="T53" fmla="*/ 1584087 h 283803"/>
              <a:gd name="T54" fmla="*/ 2967609 w 283804"/>
              <a:gd name="T55" fmla="*/ 1511611 h 283803"/>
              <a:gd name="T56" fmla="*/ 2316327 w 283804"/>
              <a:gd name="T57" fmla="*/ 924459 h 283803"/>
              <a:gd name="T58" fmla="*/ 2641965 w 283804"/>
              <a:gd name="T59" fmla="*/ 467788 h 283803"/>
              <a:gd name="T60" fmla="*/ 2721369 w 283804"/>
              <a:gd name="T61" fmla="*/ 172345 h 283803"/>
              <a:gd name="T62" fmla="*/ 2721369 w 283804"/>
              <a:gd name="T63" fmla="*/ 2297796 h 283803"/>
              <a:gd name="T64" fmla="*/ 2721369 w 283804"/>
              <a:gd name="T65" fmla="*/ 172345 h 283803"/>
              <a:gd name="T66" fmla="*/ 3956405 w 283804"/>
              <a:gd name="T67" fmla="*/ 1235039 h 283803"/>
              <a:gd name="T68" fmla="*/ 2807554 w 283804"/>
              <a:gd name="T69" fmla="*/ 3238446 h 283803"/>
              <a:gd name="T70" fmla="*/ 4552391 w 283804"/>
              <a:gd name="T71" fmla="*/ 2462927 h 283803"/>
              <a:gd name="T72" fmla="*/ 3180915 w 283804"/>
              <a:gd name="T73" fmla="*/ 4013919 h 283803"/>
              <a:gd name="T74" fmla="*/ 2807554 w 283804"/>
              <a:gd name="T75" fmla="*/ 5062296 h 283803"/>
              <a:gd name="T76" fmla="*/ 4351334 w 283804"/>
              <a:gd name="T77" fmla="*/ 5263368 h 283803"/>
              <a:gd name="T78" fmla="*/ 5320700 w 283804"/>
              <a:gd name="T79" fmla="*/ 5500321 h 283803"/>
              <a:gd name="T80" fmla="*/ 5672524 w 283804"/>
              <a:gd name="T81" fmla="*/ 5586490 h 283803"/>
              <a:gd name="T82" fmla="*/ 86116 w 283804"/>
              <a:gd name="T83" fmla="*/ 5672649 h 283803"/>
              <a:gd name="T84" fmla="*/ 86116 w 283804"/>
              <a:gd name="T85" fmla="*/ 5500321 h 283803"/>
              <a:gd name="T86" fmla="*/ 890359 w 283804"/>
              <a:gd name="T87" fmla="*/ 5047944 h 283803"/>
              <a:gd name="T88" fmla="*/ 2032045 w 283804"/>
              <a:gd name="T89" fmla="*/ 4810993 h 283803"/>
              <a:gd name="T90" fmla="*/ 2635213 w 283804"/>
              <a:gd name="T91" fmla="*/ 4473484 h 283803"/>
              <a:gd name="T92" fmla="*/ 804190 w 283804"/>
              <a:gd name="T93" fmla="*/ 3008648 h 283803"/>
              <a:gd name="T94" fmla="*/ 1349935 w 283804"/>
              <a:gd name="T95" fmla="*/ 2922478 h 283803"/>
              <a:gd name="T96" fmla="*/ 2635213 w 283804"/>
              <a:gd name="T97" fmla="*/ 2462927 h 283803"/>
              <a:gd name="T98" fmla="*/ 2721369 w 283804"/>
              <a:gd name="T99" fmla="*/ 0 h 28380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3804" h="283803">
                <a:moveTo>
                  <a:pt x="239258" y="260811"/>
                </a:moveTo>
                <a:cubicBezTo>
                  <a:pt x="230636" y="260811"/>
                  <a:pt x="223092" y="266918"/>
                  <a:pt x="221295" y="275181"/>
                </a:cubicBezTo>
                <a:lnTo>
                  <a:pt x="257220" y="275181"/>
                </a:lnTo>
                <a:cubicBezTo>
                  <a:pt x="255424" y="266918"/>
                  <a:pt x="247879" y="260811"/>
                  <a:pt x="239258" y="260811"/>
                </a:cubicBezTo>
                <a:close/>
                <a:moveTo>
                  <a:pt x="44546" y="260811"/>
                </a:moveTo>
                <a:cubicBezTo>
                  <a:pt x="35565" y="260811"/>
                  <a:pt x="28380" y="266918"/>
                  <a:pt x="26225" y="275181"/>
                </a:cubicBezTo>
                <a:lnTo>
                  <a:pt x="62508" y="275181"/>
                </a:lnTo>
                <a:cubicBezTo>
                  <a:pt x="60353" y="266918"/>
                  <a:pt x="53168" y="260811"/>
                  <a:pt x="44546" y="260811"/>
                </a:cubicBezTo>
                <a:close/>
                <a:moveTo>
                  <a:pt x="101666" y="249315"/>
                </a:moveTo>
                <a:cubicBezTo>
                  <a:pt x="86578" y="249315"/>
                  <a:pt x="74004" y="260452"/>
                  <a:pt x="72208" y="275181"/>
                </a:cubicBezTo>
                <a:lnTo>
                  <a:pt x="131484" y="275181"/>
                </a:lnTo>
                <a:cubicBezTo>
                  <a:pt x="129328" y="260452"/>
                  <a:pt x="116754" y="249315"/>
                  <a:pt x="101666" y="249315"/>
                </a:cubicBezTo>
                <a:close/>
                <a:moveTo>
                  <a:pt x="176390" y="243927"/>
                </a:moveTo>
                <a:cubicBezTo>
                  <a:pt x="158068" y="243927"/>
                  <a:pt x="142620" y="257578"/>
                  <a:pt x="140824" y="275181"/>
                </a:cubicBezTo>
                <a:lnTo>
                  <a:pt x="211596" y="275181"/>
                </a:lnTo>
                <a:cubicBezTo>
                  <a:pt x="209799" y="257578"/>
                  <a:pt x="194711" y="243927"/>
                  <a:pt x="176390" y="243927"/>
                </a:cubicBezTo>
                <a:close/>
                <a:moveTo>
                  <a:pt x="48857" y="154834"/>
                </a:moveTo>
                <a:cubicBezTo>
                  <a:pt x="51013" y="188603"/>
                  <a:pt x="79034" y="215187"/>
                  <a:pt x="113162" y="215187"/>
                </a:cubicBezTo>
                <a:lnTo>
                  <a:pt x="131843" y="215187"/>
                </a:lnTo>
                <a:cubicBezTo>
                  <a:pt x="129328" y="181418"/>
                  <a:pt x="101307" y="154834"/>
                  <a:pt x="67538" y="154834"/>
                </a:cubicBezTo>
                <a:lnTo>
                  <a:pt x="48857" y="154834"/>
                </a:lnTo>
                <a:close/>
                <a:moveTo>
                  <a:pt x="205129" y="131843"/>
                </a:moveTo>
                <a:cubicBezTo>
                  <a:pt x="170642" y="131843"/>
                  <a:pt x="142620" y="158427"/>
                  <a:pt x="140824" y="192196"/>
                </a:cubicBezTo>
                <a:lnTo>
                  <a:pt x="159145" y="192196"/>
                </a:lnTo>
                <a:cubicBezTo>
                  <a:pt x="193274" y="192196"/>
                  <a:pt x="221295" y="165612"/>
                  <a:pt x="223451" y="131843"/>
                </a:cubicBezTo>
                <a:lnTo>
                  <a:pt x="205129" y="131843"/>
                </a:lnTo>
                <a:close/>
                <a:moveTo>
                  <a:pt x="171260" y="57150"/>
                </a:moveTo>
                <a:cubicBezTo>
                  <a:pt x="173546" y="57150"/>
                  <a:pt x="175832" y="59055"/>
                  <a:pt x="175832" y="61722"/>
                </a:cubicBezTo>
                <a:cubicBezTo>
                  <a:pt x="175832" y="64008"/>
                  <a:pt x="173546" y="66294"/>
                  <a:pt x="171260" y="66294"/>
                </a:cubicBezTo>
                <a:cubicBezTo>
                  <a:pt x="168593" y="66294"/>
                  <a:pt x="166688" y="64008"/>
                  <a:pt x="166688" y="61722"/>
                </a:cubicBezTo>
                <a:cubicBezTo>
                  <a:pt x="166688" y="59055"/>
                  <a:pt x="168593" y="57150"/>
                  <a:pt x="171260" y="57150"/>
                </a:cubicBezTo>
                <a:close/>
                <a:moveTo>
                  <a:pt x="101410" y="57150"/>
                </a:moveTo>
                <a:cubicBezTo>
                  <a:pt x="104077" y="57150"/>
                  <a:pt x="105982" y="59055"/>
                  <a:pt x="105982" y="61722"/>
                </a:cubicBezTo>
                <a:cubicBezTo>
                  <a:pt x="105982" y="64008"/>
                  <a:pt x="104077" y="66294"/>
                  <a:pt x="101410" y="66294"/>
                </a:cubicBezTo>
                <a:cubicBezTo>
                  <a:pt x="98743" y="66294"/>
                  <a:pt x="96838" y="64008"/>
                  <a:pt x="96838" y="61722"/>
                </a:cubicBezTo>
                <a:cubicBezTo>
                  <a:pt x="96838" y="59055"/>
                  <a:pt x="98743" y="57150"/>
                  <a:pt x="101410" y="57150"/>
                </a:cubicBezTo>
                <a:close/>
                <a:moveTo>
                  <a:pt x="136525" y="19050"/>
                </a:moveTo>
                <a:cubicBezTo>
                  <a:pt x="139060" y="19050"/>
                  <a:pt x="140870" y="20863"/>
                  <a:pt x="140870" y="23402"/>
                </a:cubicBezTo>
                <a:lnTo>
                  <a:pt x="140870" y="27754"/>
                </a:lnTo>
                <a:cubicBezTo>
                  <a:pt x="147387" y="29204"/>
                  <a:pt x="152818" y="33194"/>
                  <a:pt x="155715" y="39359"/>
                </a:cubicBezTo>
                <a:cubicBezTo>
                  <a:pt x="156439" y="41535"/>
                  <a:pt x="155715" y="44073"/>
                  <a:pt x="153180" y="45161"/>
                </a:cubicBezTo>
                <a:cubicBezTo>
                  <a:pt x="151008" y="45887"/>
                  <a:pt x="148473" y="45161"/>
                  <a:pt x="147749" y="42623"/>
                </a:cubicBezTo>
                <a:cubicBezTo>
                  <a:pt x="145939" y="38634"/>
                  <a:pt x="141594" y="35732"/>
                  <a:pt x="136525" y="35732"/>
                </a:cubicBezTo>
                <a:cubicBezTo>
                  <a:pt x="130008" y="35732"/>
                  <a:pt x="124577" y="40447"/>
                  <a:pt x="124577" y="46249"/>
                </a:cubicBezTo>
                <a:cubicBezTo>
                  <a:pt x="124577" y="53140"/>
                  <a:pt x="128560" y="56767"/>
                  <a:pt x="136525" y="56767"/>
                </a:cubicBezTo>
                <a:cubicBezTo>
                  <a:pt x="151732" y="56767"/>
                  <a:pt x="156801" y="66558"/>
                  <a:pt x="156801" y="75625"/>
                </a:cubicBezTo>
                <a:cubicBezTo>
                  <a:pt x="156801" y="84691"/>
                  <a:pt x="150284" y="92670"/>
                  <a:pt x="140870" y="94483"/>
                </a:cubicBezTo>
                <a:lnTo>
                  <a:pt x="140870" y="98835"/>
                </a:lnTo>
                <a:cubicBezTo>
                  <a:pt x="140870" y="101011"/>
                  <a:pt x="139060" y="102824"/>
                  <a:pt x="136525" y="102824"/>
                </a:cubicBezTo>
                <a:cubicBezTo>
                  <a:pt x="133991" y="102824"/>
                  <a:pt x="132181" y="101011"/>
                  <a:pt x="132181" y="98835"/>
                </a:cubicBezTo>
                <a:lnTo>
                  <a:pt x="132181" y="94483"/>
                </a:lnTo>
                <a:cubicBezTo>
                  <a:pt x="125663" y="93033"/>
                  <a:pt x="119870" y="89043"/>
                  <a:pt x="117336" y="82878"/>
                </a:cubicBezTo>
                <a:cubicBezTo>
                  <a:pt x="116250" y="80702"/>
                  <a:pt x="117336" y="78164"/>
                  <a:pt x="119870" y="77076"/>
                </a:cubicBezTo>
                <a:cubicBezTo>
                  <a:pt x="122043" y="75988"/>
                  <a:pt x="124577" y="77076"/>
                  <a:pt x="125301" y="79252"/>
                </a:cubicBezTo>
                <a:cubicBezTo>
                  <a:pt x="127112" y="83241"/>
                  <a:pt x="131818" y="86142"/>
                  <a:pt x="136525" y="86142"/>
                </a:cubicBezTo>
                <a:cubicBezTo>
                  <a:pt x="143042" y="86142"/>
                  <a:pt x="148473" y="81427"/>
                  <a:pt x="148473" y="75625"/>
                </a:cubicBezTo>
                <a:cubicBezTo>
                  <a:pt x="148473" y="69097"/>
                  <a:pt x="144491" y="65470"/>
                  <a:pt x="136525" y="65470"/>
                </a:cubicBezTo>
                <a:cubicBezTo>
                  <a:pt x="121319" y="65470"/>
                  <a:pt x="115888" y="55316"/>
                  <a:pt x="115888" y="46249"/>
                </a:cubicBezTo>
                <a:cubicBezTo>
                  <a:pt x="115888" y="37183"/>
                  <a:pt x="123129" y="29567"/>
                  <a:pt x="132181" y="27391"/>
                </a:cubicBezTo>
                <a:lnTo>
                  <a:pt x="132181" y="23402"/>
                </a:lnTo>
                <a:cubicBezTo>
                  <a:pt x="132181" y="20863"/>
                  <a:pt x="133991" y="19050"/>
                  <a:pt x="136525" y="19050"/>
                </a:cubicBezTo>
                <a:close/>
                <a:moveTo>
                  <a:pt x="136154" y="8622"/>
                </a:moveTo>
                <a:cubicBezTo>
                  <a:pt x="107055" y="8622"/>
                  <a:pt x="82985" y="32691"/>
                  <a:pt x="82985" y="61790"/>
                </a:cubicBezTo>
                <a:cubicBezTo>
                  <a:pt x="82985" y="90889"/>
                  <a:pt x="107055" y="114958"/>
                  <a:pt x="136154" y="114958"/>
                </a:cubicBezTo>
                <a:cubicBezTo>
                  <a:pt x="165253" y="114958"/>
                  <a:pt x="189322" y="90889"/>
                  <a:pt x="189322" y="61790"/>
                </a:cubicBezTo>
                <a:cubicBezTo>
                  <a:pt x="189322" y="32691"/>
                  <a:pt x="165253" y="8622"/>
                  <a:pt x="136154" y="8622"/>
                </a:cubicBezTo>
                <a:close/>
                <a:moveTo>
                  <a:pt x="136154" y="0"/>
                </a:moveTo>
                <a:cubicBezTo>
                  <a:pt x="170282" y="0"/>
                  <a:pt x="197944" y="27662"/>
                  <a:pt x="197944" y="61790"/>
                </a:cubicBezTo>
                <a:cubicBezTo>
                  <a:pt x="197944" y="94122"/>
                  <a:pt x="172438" y="121065"/>
                  <a:pt x="140465" y="123221"/>
                </a:cubicBezTo>
                <a:lnTo>
                  <a:pt x="140465" y="162019"/>
                </a:lnTo>
                <a:cubicBezTo>
                  <a:pt x="152679" y="139027"/>
                  <a:pt x="177108" y="123221"/>
                  <a:pt x="205129" y="123221"/>
                </a:cubicBezTo>
                <a:lnTo>
                  <a:pt x="227762" y="123221"/>
                </a:lnTo>
                <a:cubicBezTo>
                  <a:pt x="230276" y="123221"/>
                  <a:pt x="232073" y="125017"/>
                  <a:pt x="232073" y="127891"/>
                </a:cubicBezTo>
                <a:cubicBezTo>
                  <a:pt x="232073" y="168126"/>
                  <a:pt x="199381" y="200817"/>
                  <a:pt x="159145" y="200817"/>
                </a:cubicBezTo>
                <a:lnTo>
                  <a:pt x="140465" y="200817"/>
                </a:lnTo>
                <a:lnTo>
                  <a:pt x="140465" y="253267"/>
                </a:lnTo>
                <a:cubicBezTo>
                  <a:pt x="148368" y="242130"/>
                  <a:pt x="161660" y="234946"/>
                  <a:pt x="176390" y="234946"/>
                </a:cubicBezTo>
                <a:cubicBezTo>
                  <a:pt x="195070" y="234946"/>
                  <a:pt x="211236" y="246801"/>
                  <a:pt x="217703" y="263326"/>
                </a:cubicBezTo>
                <a:cubicBezTo>
                  <a:pt x="222373" y="256500"/>
                  <a:pt x="230276" y="252549"/>
                  <a:pt x="239258" y="252549"/>
                </a:cubicBezTo>
                <a:cubicBezTo>
                  <a:pt x="252909" y="252549"/>
                  <a:pt x="264045" y="262248"/>
                  <a:pt x="266201" y="275181"/>
                </a:cubicBezTo>
                <a:lnTo>
                  <a:pt x="279493" y="275181"/>
                </a:lnTo>
                <a:cubicBezTo>
                  <a:pt x="281649" y="275181"/>
                  <a:pt x="283804" y="276977"/>
                  <a:pt x="283804" y="279492"/>
                </a:cubicBezTo>
                <a:cubicBezTo>
                  <a:pt x="283804" y="282007"/>
                  <a:pt x="281649" y="283803"/>
                  <a:pt x="279493" y="283803"/>
                </a:cubicBezTo>
                <a:lnTo>
                  <a:pt x="4311" y="283803"/>
                </a:lnTo>
                <a:cubicBezTo>
                  <a:pt x="2155" y="283803"/>
                  <a:pt x="0" y="282007"/>
                  <a:pt x="0" y="279492"/>
                </a:cubicBezTo>
                <a:cubicBezTo>
                  <a:pt x="0" y="276977"/>
                  <a:pt x="2155" y="275181"/>
                  <a:pt x="4311" y="275181"/>
                </a:cubicBezTo>
                <a:lnTo>
                  <a:pt x="17603" y="275181"/>
                </a:lnTo>
                <a:cubicBezTo>
                  <a:pt x="19758" y="262248"/>
                  <a:pt x="30895" y="252549"/>
                  <a:pt x="44546" y="252549"/>
                </a:cubicBezTo>
                <a:cubicBezTo>
                  <a:pt x="53527" y="252549"/>
                  <a:pt x="61431" y="256859"/>
                  <a:pt x="66460" y="263685"/>
                </a:cubicBezTo>
                <a:cubicBezTo>
                  <a:pt x="72567" y="250393"/>
                  <a:pt x="86219" y="240694"/>
                  <a:pt x="101666" y="240694"/>
                </a:cubicBezTo>
                <a:cubicBezTo>
                  <a:pt x="113881" y="240694"/>
                  <a:pt x="124658" y="246441"/>
                  <a:pt x="131843" y="255423"/>
                </a:cubicBezTo>
                <a:lnTo>
                  <a:pt x="131843" y="223809"/>
                </a:lnTo>
                <a:lnTo>
                  <a:pt x="113162" y="223809"/>
                </a:lnTo>
                <a:cubicBezTo>
                  <a:pt x="72927" y="223809"/>
                  <a:pt x="40235" y="190759"/>
                  <a:pt x="40235" y="150523"/>
                </a:cubicBezTo>
                <a:cubicBezTo>
                  <a:pt x="40235" y="148009"/>
                  <a:pt x="42031" y="146212"/>
                  <a:pt x="44546" y="146212"/>
                </a:cubicBezTo>
                <a:lnTo>
                  <a:pt x="67538" y="146212"/>
                </a:lnTo>
                <a:cubicBezTo>
                  <a:pt x="95200" y="146212"/>
                  <a:pt x="119628" y="162019"/>
                  <a:pt x="131843" y="185011"/>
                </a:cubicBezTo>
                <a:lnTo>
                  <a:pt x="131843" y="123221"/>
                </a:lnTo>
                <a:cubicBezTo>
                  <a:pt x="99870" y="121065"/>
                  <a:pt x="74723" y="94122"/>
                  <a:pt x="74723" y="61790"/>
                </a:cubicBezTo>
                <a:cubicBezTo>
                  <a:pt x="74723" y="27662"/>
                  <a:pt x="102385" y="0"/>
                  <a:pt x="136154" y="0"/>
                </a:cubicBezTo>
                <a:close/>
              </a:path>
            </a:pathLst>
          </a:custGeom>
          <a:solidFill>
            <a:schemeClr val="bg1"/>
          </a:solidFill>
          <a:ln>
            <a:noFill/>
          </a:ln>
          <a:effectLst/>
        </p:spPr>
        <p:txBody>
          <a:bodyPr anchor="ctr"/>
          <a:lstStyle/>
          <a:p>
            <a:endParaRPr lang="en-GB" sz="1400" dirty="0">
              <a:latin typeface="+mj-lt"/>
            </a:endParaRPr>
          </a:p>
        </p:txBody>
      </p:sp>
      <p:sp>
        <p:nvSpPr>
          <p:cNvPr id="21" name="Freeform 953">
            <a:extLst>
              <a:ext uri="{FF2B5EF4-FFF2-40B4-BE49-F238E27FC236}">
                <a16:creationId xmlns:a16="http://schemas.microsoft.com/office/drawing/2014/main" id="{DD8CD542-37E0-47E0-945B-40AB4E5C2C34}"/>
              </a:ext>
            </a:extLst>
          </p:cNvPr>
          <p:cNvSpPr>
            <a:spLocks noChangeAspect="1" noChangeArrowheads="1"/>
          </p:cNvSpPr>
          <p:nvPr/>
        </p:nvSpPr>
        <p:spPr bwMode="auto">
          <a:xfrm>
            <a:off x="8686466" y="3777789"/>
            <a:ext cx="449578" cy="488673"/>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GB" sz="1400" dirty="0">
              <a:latin typeface="+mj-lt"/>
            </a:endParaRPr>
          </a:p>
        </p:txBody>
      </p:sp>
      <p:sp>
        <p:nvSpPr>
          <p:cNvPr id="22" name="TextBox 26">
            <a:extLst>
              <a:ext uri="{FF2B5EF4-FFF2-40B4-BE49-F238E27FC236}">
                <a16:creationId xmlns:a16="http://schemas.microsoft.com/office/drawing/2014/main" id="{78F35C4D-9606-4F9E-A76B-717D2B937139}"/>
              </a:ext>
            </a:extLst>
          </p:cNvPr>
          <p:cNvSpPr txBox="1"/>
          <p:nvPr/>
        </p:nvSpPr>
        <p:spPr>
          <a:xfrm>
            <a:off x="7367391" y="3560460"/>
            <a:ext cx="975140" cy="830997"/>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Working</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apital </a:t>
            </a:r>
          </a:p>
          <a:p>
            <a:pPr algn="ctr"/>
            <a:r>
              <a:rPr lang="en-GB" sz="1600" b="1" dirty="0">
                <a:solidFill>
                  <a:schemeClr val="tx2"/>
                </a:solidFill>
                <a:latin typeface="+mj-lt"/>
                <a:ea typeface="League Spartan" charset="0"/>
                <a:cs typeface="Poppins" pitchFamily="2" charset="77"/>
              </a:rPr>
              <a:t>Measures</a:t>
            </a:r>
            <a:endParaRPr lang="en-GB" sz="14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8789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149153" y="557876"/>
            <a:ext cx="8852375" cy="697353"/>
          </a:xfrm>
        </p:spPr>
        <p:txBody>
          <a:bodyPr>
            <a:normAutofit/>
          </a:bodyPr>
          <a:lstStyle/>
          <a:p>
            <a:r>
              <a:rPr lang="en-GB" dirty="0"/>
              <a:t>Working Capital Management (cont.)</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217862" y="1893547"/>
            <a:ext cx="3093214"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unning is the process of methodically communicating with customers to ensure the collection of accounts receivable.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Communications progress from gentle reminders to threatening letters and phone calls and more or less intimidating location visits as accounts become more overdue.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6" name="TextBox 24">
            <a:extLst>
              <a:ext uri="{FF2B5EF4-FFF2-40B4-BE49-F238E27FC236}">
                <a16:creationId xmlns:a16="http://schemas.microsoft.com/office/drawing/2014/main" id="{8D015B4C-7BDE-4CF6-B1DF-C9FF97DCD775}"/>
              </a:ext>
            </a:extLst>
          </p:cNvPr>
          <p:cNvSpPr txBox="1"/>
          <p:nvPr/>
        </p:nvSpPr>
        <p:spPr>
          <a:xfrm>
            <a:off x="9452462" y="1765425"/>
            <a:ext cx="1642309" cy="369332"/>
          </a:xfrm>
          <a:prstGeom prst="rect">
            <a:avLst/>
          </a:prstGeom>
          <a:noFill/>
        </p:spPr>
        <p:txBody>
          <a:bodyPr wrap="none" lIns="91440" tIns="45720" rIns="91440" bIns="45720" rtlCol="0" anchor="b" anchorCtr="0">
            <a:spAutoFit/>
          </a:bodyPr>
          <a:lstStyle/>
          <a:p>
            <a:r>
              <a:rPr lang="en-GB" b="1" dirty="0">
                <a:solidFill>
                  <a:schemeClr val="tx2"/>
                </a:solidFill>
                <a:latin typeface="+mj-lt"/>
                <a:ea typeface="League Spartan" charset="0"/>
                <a:cs typeface="Poppins" pitchFamily="2" charset="77"/>
              </a:rPr>
              <a:t>Dunning System</a:t>
            </a:r>
          </a:p>
        </p:txBody>
      </p:sp>
      <p:sp>
        <p:nvSpPr>
          <p:cNvPr id="17" name="Subtitle 2">
            <a:extLst>
              <a:ext uri="{FF2B5EF4-FFF2-40B4-BE49-F238E27FC236}">
                <a16:creationId xmlns:a16="http://schemas.microsoft.com/office/drawing/2014/main" id="{B3A360FC-7259-4651-A29F-042977C2617C}"/>
              </a:ext>
            </a:extLst>
          </p:cNvPr>
          <p:cNvSpPr txBox="1">
            <a:spLocks/>
          </p:cNvSpPr>
          <p:nvPr/>
        </p:nvSpPr>
        <p:spPr>
          <a:xfrm>
            <a:off x="9472701" y="2089810"/>
            <a:ext cx="2684248" cy="43681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Is there a ban on dunning? Reasons?</a:t>
            </a:r>
            <a:endParaRPr lang="en-US" sz="1600" dirty="0">
              <a:solidFill>
                <a:srgbClr val="245473"/>
              </a:solidFill>
            </a:endParaRP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en is the 1</a:t>
            </a:r>
            <a:r>
              <a:rPr lang="en-GB" sz="1600" baseline="30000" dirty="0">
                <a:solidFill>
                  <a:srgbClr val="245473"/>
                </a:solidFill>
                <a:latin typeface="+mj-lt"/>
                <a:ea typeface="Lato Light" panose="020F0502020204030203" pitchFamily="34" charset="0"/>
                <a:cs typeface="Mukta ExtraLight" panose="020B0000000000000000" pitchFamily="34" charset="77"/>
              </a:rPr>
              <a:t>st</a:t>
            </a:r>
            <a:r>
              <a:rPr lang="en-GB" sz="1600" dirty="0">
                <a:solidFill>
                  <a:srgbClr val="245473"/>
                </a:solidFill>
                <a:latin typeface="+mj-lt"/>
                <a:ea typeface="Lato Light" panose="020F0502020204030203" pitchFamily="34" charset="0"/>
                <a:cs typeface="Mukta ExtraLight" panose="020B0000000000000000" pitchFamily="34" charset="77"/>
              </a:rPr>
              <a:t>  reminder sent? How often?</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at happens after the last dunning level?</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How are reminders formulated?</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Exploitation of legal remedie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o initiates the reminder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o is involved in proces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How is the sales department involved?</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ause analysis of overdue receivables?</a:t>
            </a:r>
          </a:p>
        </p:txBody>
      </p:sp>
      <p:sp>
        <p:nvSpPr>
          <p:cNvPr id="18" name="TextBox 26">
            <a:extLst>
              <a:ext uri="{FF2B5EF4-FFF2-40B4-BE49-F238E27FC236}">
                <a16:creationId xmlns:a16="http://schemas.microsoft.com/office/drawing/2014/main" id="{3F005DF6-025C-4D79-AAD4-7099F96A9B84}"/>
              </a:ext>
            </a:extLst>
          </p:cNvPr>
          <p:cNvSpPr txBox="1"/>
          <p:nvPr/>
        </p:nvSpPr>
        <p:spPr>
          <a:xfrm>
            <a:off x="4639614" y="1765425"/>
            <a:ext cx="2834815" cy="338554"/>
          </a:xfrm>
          <a:prstGeom prst="rect">
            <a:avLst/>
          </a:prstGeom>
          <a:noFill/>
        </p:spPr>
        <p:txBody>
          <a:bodyPr wrap="none" lIns="91440" tIns="45720" rIns="91440" bIns="45720" rtlCol="0" anchor="b" anchorCtr="0">
            <a:spAutoFit/>
          </a:bodyPr>
          <a:lstStyle/>
          <a:p>
            <a:r>
              <a:rPr lang="en-GB" sz="1600" b="1" dirty="0">
                <a:solidFill>
                  <a:srgbClr val="F95C2C"/>
                </a:solidFill>
                <a:latin typeface="+mj-lt"/>
                <a:ea typeface="League Spartan" charset="0"/>
                <a:cs typeface="Poppins" pitchFamily="2" charset="77"/>
              </a:rPr>
              <a:t>Structure of Accounts Receivable</a:t>
            </a:r>
          </a:p>
        </p:txBody>
      </p:sp>
      <p:sp>
        <p:nvSpPr>
          <p:cNvPr id="19" name="Subtitle 2">
            <a:extLst>
              <a:ext uri="{FF2B5EF4-FFF2-40B4-BE49-F238E27FC236}">
                <a16:creationId xmlns:a16="http://schemas.microsoft.com/office/drawing/2014/main" id="{971A53F2-068D-4409-ACFB-86187A4F300D}"/>
              </a:ext>
            </a:extLst>
          </p:cNvPr>
          <p:cNvSpPr txBox="1">
            <a:spLocks/>
          </p:cNvSpPr>
          <p:nvPr/>
        </p:nvSpPr>
        <p:spPr>
          <a:xfrm>
            <a:off x="3877448" y="1889493"/>
            <a:ext cx="2317279" cy="22506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Age</a:t>
            </a:r>
            <a:endParaRPr lang="en-US" sz="2800" dirty="0">
              <a:solidFill>
                <a:srgbClr val="245473"/>
              </a:solidFill>
            </a:endParaRP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Domestic/ foreign</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ountries (payment history)</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Division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ustomers / buyers (creditworthines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Sales responsibilities</a:t>
            </a:r>
            <a:endParaRPr lang="en-GB" sz="1400" dirty="0">
              <a:solidFill>
                <a:srgbClr val="245473"/>
              </a:solidFill>
              <a:latin typeface="+mj-lt"/>
              <a:ea typeface="Lato Light" panose="020F0502020204030203" pitchFamily="34" charset="0"/>
              <a:cs typeface="Mukta ExtraLight" panose="020B0000000000000000" pitchFamily="34" charset="77"/>
            </a:endParaRPr>
          </a:p>
        </p:txBody>
      </p:sp>
      <p:sp>
        <p:nvSpPr>
          <p:cNvPr id="22" name="Freeform 34">
            <a:extLst>
              <a:ext uri="{FF2B5EF4-FFF2-40B4-BE49-F238E27FC236}">
                <a16:creationId xmlns:a16="http://schemas.microsoft.com/office/drawing/2014/main" id="{07B0C062-89A9-481A-8EED-AD7721322695}"/>
              </a:ext>
            </a:extLst>
          </p:cNvPr>
          <p:cNvSpPr/>
          <p:nvPr/>
        </p:nvSpPr>
        <p:spPr>
          <a:xfrm>
            <a:off x="5970209" y="2260848"/>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3" name="Freeform 36">
            <a:extLst>
              <a:ext uri="{FF2B5EF4-FFF2-40B4-BE49-F238E27FC236}">
                <a16:creationId xmlns:a16="http://schemas.microsoft.com/office/drawing/2014/main" id="{3B7BE848-B9C8-4A06-92AC-28323191E590}"/>
              </a:ext>
            </a:extLst>
          </p:cNvPr>
          <p:cNvSpPr/>
          <p:nvPr/>
        </p:nvSpPr>
        <p:spPr>
          <a:xfrm>
            <a:off x="7758277" y="2543528"/>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4" name="Freeform 35">
            <a:extLst>
              <a:ext uri="{FF2B5EF4-FFF2-40B4-BE49-F238E27FC236}">
                <a16:creationId xmlns:a16="http://schemas.microsoft.com/office/drawing/2014/main" id="{51CB2163-5B1D-420F-AAC9-CE32A87B823A}"/>
              </a:ext>
            </a:extLst>
          </p:cNvPr>
          <p:cNvSpPr/>
          <p:nvPr/>
        </p:nvSpPr>
        <p:spPr>
          <a:xfrm>
            <a:off x="5746953" y="3381048"/>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5" name="TextBox 37">
            <a:extLst>
              <a:ext uri="{FF2B5EF4-FFF2-40B4-BE49-F238E27FC236}">
                <a16:creationId xmlns:a16="http://schemas.microsoft.com/office/drawing/2014/main" id="{73E51F7D-0D3F-462B-B3EB-945A970158ED}"/>
              </a:ext>
            </a:extLst>
          </p:cNvPr>
          <p:cNvSpPr txBox="1"/>
          <p:nvPr/>
        </p:nvSpPr>
        <p:spPr>
          <a:xfrm>
            <a:off x="6269484" y="3518084"/>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1</a:t>
            </a:r>
            <a:endParaRPr lang="en-GB" sz="2251" b="1" dirty="0">
              <a:solidFill>
                <a:schemeClr val="bg1"/>
              </a:solidFill>
              <a:latin typeface="Poppins" pitchFamily="2" charset="77"/>
              <a:ea typeface="League Spartan" charset="0"/>
              <a:cs typeface="Poppins" pitchFamily="2" charset="77"/>
            </a:endParaRPr>
          </a:p>
        </p:txBody>
      </p:sp>
      <p:sp>
        <p:nvSpPr>
          <p:cNvPr id="26" name="TextBox 38">
            <a:extLst>
              <a:ext uri="{FF2B5EF4-FFF2-40B4-BE49-F238E27FC236}">
                <a16:creationId xmlns:a16="http://schemas.microsoft.com/office/drawing/2014/main" id="{BD42368B-7922-4168-9E0D-E67AC289E6B8}"/>
              </a:ext>
            </a:extLst>
          </p:cNvPr>
          <p:cNvSpPr txBox="1"/>
          <p:nvPr/>
        </p:nvSpPr>
        <p:spPr>
          <a:xfrm>
            <a:off x="8217663" y="2905277"/>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2</a:t>
            </a:r>
            <a:endParaRPr lang="en-GB" sz="2251" b="1" dirty="0">
              <a:solidFill>
                <a:schemeClr val="bg1"/>
              </a:solidFill>
              <a:latin typeface="Poppins" pitchFamily="2" charset="77"/>
              <a:ea typeface="League Spartan" charset="0"/>
              <a:cs typeface="Poppins" pitchFamily="2" charset="77"/>
            </a:endParaRPr>
          </a:p>
        </p:txBody>
      </p:sp>
      <p:sp>
        <p:nvSpPr>
          <p:cNvPr id="27" name="TextBox 40">
            <a:extLst>
              <a:ext uri="{FF2B5EF4-FFF2-40B4-BE49-F238E27FC236}">
                <a16:creationId xmlns:a16="http://schemas.microsoft.com/office/drawing/2014/main" id="{BEC065EF-E396-434B-9711-A63692028898}"/>
              </a:ext>
            </a:extLst>
          </p:cNvPr>
          <p:cNvSpPr txBox="1"/>
          <p:nvPr/>
        </p:nvSpPr>
        <p:spPr>
          <a:xfrm>
            <a:off x="7801503" y="4903761"/>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3</a:t>
            </a:r>
            <a:endParaRPr lang="en-GB" sz="2251" b="1" dirty="0">
              <a:solidFill>
                <a:schemeClr val="bg1"/>
              </a:solidFill>
              <a:latin typeface="Poppins" pitchFamily="2" charset="77"/>
              <a:ea typeface="League Spartan" charset="0"/>
              <a:cs typeface="Poppins" pitchFamily="2" charset="77"/>
            </a:endParaRPr>
          </a:p>
        </p:txBody>
      </p:sp>
      <p:sp>
        <p:nvSpPr>
          <p:cNvPr id="28" name="Freeform 10">
            <a:extLst>
              <a:ext uri="{FF2B5EF4-FFF2-40B4-BE49-F238E27FC236}">
                <a16:creationId xmlns:a16="http://schemas.microsoft.com/office/drawing/2014/main" id="{BC8C4D48-AAF5-4E77-87DB-A5F807A90DE4}"/>
              </a:ext>
            </a:extLst>
          </p:cNvPr>
          <p:cNvSpPr>
            <a:spLocks noChangeAspect="1" noChangeArrowheads="1"/>
          </p:cNvSpPr>
          <p:nvPr/>
        </p:nvSpPr>
        <p:spPr bwMode="auto">
          <a:xfrm>
            <a:off x="8534789" y="3894002"/>
            <a:ext cx="533891" cy="533891"/>
          </a:xfrm>
          <a:custGeom>
            <a:avLst/>
            <a:gdLst>
              <a:gd name="T0" fmla="*/ 2147483646 w 810"/>
              <a:gd name="T1" fmla="*/ 2147483646 h 810"/>
              <a:gd name="T2" fmla="*/ 2147483646 w 810"/>
              <a:gd name="T3" fmla="*/ 2147483646 h 810"/>
              <a:gd name="T4" fmla="*/ 2147483646 w 810"/>
              <a:gd name="T5" fmla="*/ 2147483646 h 810"/>
              <a:gd name="T6" fmla="*/ 2147483646 w 810"/>
              <a:gd name="T7" fmla="*/ 2147483646 h 810"/>
              <a:gd name="T8" fmla="*/ 2147483646 w 810"/>
              <a:gd name="T9" fmla="*/ 2147483646 h 810"/>
              <a:gd name="T10" fmla="*/ 2147483646 w 810"/>
              <a:gd name="T11" fmla="*/ 2147483646 h 810"/>
              <a:gd name="T12" fmla="*/ 2147483646 w 810"/>
              <a:gd name="T13" fmla="*/ 2147483646 h 810"/>
              <a:gd name="T14" fmla="*/ 2147483646 w 810"/>
              <a:gd name="T15" fmla="*/ 2147483646 h 810"/>
              <a:gd name="T16" fmla="*/ 2147483646 w 810"/>
              <a:gd name="T17" fmla="*/ 2147483646 h 810"/>
              <a:gd name="T18" fmla="*/ 2147483646 w 810"/>
              <a:gd name="T19" fmla="*/ 2147483646 h 810"/>
              <a:gd name="T20" fmla="*/ 2147483646 w 810"/>
              <a:gd name="T21" fmla="*/ 2147483646 h 810"/>
              <a:gd name="T22" fmla="*/ 2147483646 w 810"/>
              <a:gd name="T23" fmla="*/ 2147483646 h 810"/>
              <a:gd name="T24" fmla="*/ 2147483646 w 810"/>
              <a:gd name="T25" fmla="*/ 2147483646 h 810"/>
              <a:gd name="T26" fmla="*/ 2147483646 w 810"/>
              <a:gd name="T27" fmla="*/ 2147483646 h 810"/>
              <a:gd name="T28" fmla="*/ 2147483646 w 810"/>
              <a:gd name="T29" fmla="*/ 2147483646 h 810"/>
              <a:gd name="T30" fmla="*/ 2147483646 w 810"/>
              <a:gd name="T31" fmla="*/ 2147483646 h 810"/>
              <a:gd name="T32" fmla="*/ 2147483646 w 810"/>
              <a:gd name="T33" fmla="*/ 2147483646 h 810"/>
              <a:gd name="T34" fmla="*/ 2147483646 w 810"/>
              <a:gd name="T35" fmla="*/ 2147483646 h 810"/>
              <a:gd name="T36" fmla="*/ 2147483646 w 810"/>
              <a:gd name="T37" fmla="*/ 2147483646 h 810"/>
              <a:gd name="T38" fmla="*/ 2147483646 w 810"/>
              <a:gd name="T39" fmla="*/ 2147483646 h 810"/>
              <a:gd name="T40" fmla="*/ 2147483646 w 810"/>
              <a:gd name="T41" fmla="*/ 2147483646 h 810"/>
              <a:gd name="T42" fmla="*/ 2147483646 w 810"/>
              <a:gd name="T43" fmla="*/ 2147483646 h 810"/>
              <a:gd name="T44" fmla="*/ 2147483646 w 810"/>
              <a:gd name="T45" fmla="*/ 2147483646 h 810"/>
              <a:gd name="T46" fmla="*/ 2147483646 w 810"/>
              <a:gd name="T47" fmla="*/ 2147483646 h 810"/>
              <a:gd name="T48" fmla="*/ 2147483646 w 810"/>
              <a:gd name="T49" fmla="*/ 2147483646 h 810"/>
              <a:gd name="T50" fmla="*/ 2147483646 w 810"/>
              <a:gd name="T51" fmla="*/ 2147483646 h 810"/>
              <a:gd name="T52" fmla="*/ 2147483646 w 810"/>
              <a:gd name="T53" fmla="*/ 2147483646 h 810"/>
              <a:gd name="T54" fmla="*/ 2147483646 w 810"/>
              <a:gd name="T55" fmla="*/ 2147483646 h 810"/>
              <a:gd name="T56" fmla="*/ 2147483646 w 810"/>
              <a:gd name="T57" fmla="*/ 2147483646 h 810"/>
              <a:gd name="T58" fmla="*/ 2147483646 w 810"/>
              <a:gd name="T59" fmla="*/ 2147483646 h 810"/>
              <a:gd name="T60" fmla="*/ 2147483646 w 810"/>
              <a:gd name="T61" fmla="*/ 2147483646 h 810"/>
              <a:gd name="T62" fmla="*/ 2147483646 w 810"/>
              <a:gd name="T63" fmla="*/ 2147483646 h 810"/>
              <a:gd name="T64" fmla="*/ 2147483646 w 810"/>
              <a:gd name="T65" fmla="*/ 2147483646 h 810"/>
              <a:gd name="T66" fmla="*/ 2147483646 w 810"/>
              <a:gd name="T67" fmla="*/ 2147483646 h 810"/>
              <a:gd name="T68" fmla="*/ 2147483646 w 810"/>
              <a:gd name="T69" fmla="*/ 2147483646 h 810"/>
              <a:gd name="T70" fmla="*/ 2147483646 w 810"/>
              <a:gd name="T71" fmla="*/ 2147483646 h 810"/>
              <a:gd name="T72" fmla="*/ 2147483646 w 810"/>
              <a:gd name="T73" fmla="*/ 2147483646 h 810"/>
              <a:gd name="T74" fmla="*/ 2147483646 w 810"/>
              <a:gd name="T75" fmla="*/ 2147483646 h 810"/>
              <a:gd name="T76" fmla="*/ 2147483646 w 810"/>
              <a:gd name="T77" fmla="*/ 2147483646 h 810"/>
              <a:gd name="T78" fmla="*/ 2147483646 w 810"/>
              <a:gd name="T79" fmla="*/ 2147483646 h 810"/>
              <a:gd name="T80" fmla="*/ 2147483646 w 810"/>
              <a:gd name="T81" fmla="*/ 2147483646 h 810"/>
              <a:gd name="T82" fmla="*/ 2147483646 w 810"/>
              <a:gd name="T83" fmla="*/ 2147483646 h 810"/>
              <a:gd name="T84" fmla="*/ 2147483646 w 810"/>
              <a:gd name="T85" fmla="*/ 2147483646 h 810"/>
              <a:gd name="T86" fmla="*/ 2147483646 w 810"/>
              <a:gd name="T87" fmla="*/ 2147483646 h 810"/>
              <a:gd name="T88" fmla="*/ 2147483646 w 810"/>
              <a:gd name="T89" fmla="*/ 2147483646 h 810"/>
              <a:gd name="T90" fmla="*/ 2147483646 w 810"/>
              <a:gd name="T91" fmla="*/ 2147483646 h 810"/>
              <a:gd name="T92" fmla="*/ 2147483646 w 810"/>
              <a:gd name="T93" fmla="*/ 2147483646 h 810"/>
              <a:gd name="T94" fmla="*/ 2147483646 w 810"/>
              <a:gd name="T95" fmla="*/ 2147483646 h 810"/>
              <a:gd name="T96" fmla="*/ 2147483646 w 810"/>
              <a:gd name="T97" fmla="*/ 2147483646 h 810"/>
              <a:gd name="T98" fmla="*/ 2147483646 w 810"/>
              <a:gd name="T99" fmla="*/ 2147483646 h 810"/>
              <a:gd name="T100" fmla="*/ 2147483646 w 810"/>
              <a:gd name="T101" fmla="*/ 2147483646 h 810"/>
              <a:gd name="T102" fmla="*/ 2147483646 w 810"/>
              <a:gd name="T103" fmla="*/ 2147483646 h 810"/>
              <a:gd name="T104" fmla="*/ 2147483646 w 810"/>
              <a:gd name="T105" fmla="*/ 2147483646 h 810"/>
              <a:gd name="T106" fmla="*/ 2147483646 w 810"/>
              <a:gd name="T107" fmla="*/ 0 h 810"/>
              <a:gd name="T108" fmla="*/ 2147483646 w 810"/>
              <a:gd name="T109" fmla="*/ 0 h 810"/>
              <a:gd name="T110" fmla="*/ 2147483646 w 810"/>
              <a:gd name="T111" fmla="*/ 2147483646 h 810"/>
              <a:gd name="T112" fmla="*/ 2147483646 w 810"/>
              <a:gd name="T113" fmla="*/ 2147483646 h 810"/>
              <a:gd name="T114" fmla="*/ 2147483646 w 810"/>
              <a:gd name="T115" fmla="*/ 2147483646 h 810"/>
              <a:gd name="T116" fmla="*/ 0 w 810"/>
              <a:gd name="T117" fmla="*/ 2147483646 h 810"/>
              <a:gd name="T118" fmla="*/ 2147483646 w 810"/>
              <a:gd name="T119" fmla="*/ 2147483646 h 810"/>
              <a:gd name="T120" fmla="*/ 2147483646 w 810"/>
              <a:gd name="T121" fmla="*/ 2147483646 h 810"/>
              <a:gd name="T122" fmla="*/ 2147483646 w 810"/>
              <a:gd name="T123" fmla="*/ 2147483646 h 810"/>
              <a:gd name="T124" fmla="*/ 2147483646 w 810"/>
              <a:gd name="T125" fmla="*/ 2147483646 h 8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0" h="810">
                <a:moveTo>
                  <a:pt x="784" y="654"/>
                </a:moveTo>
                <a:lnTo>
                  <a:pt x="784" y="654"/>
                </a:lnTo>
                <a:cubicBezTo>
                  <a:pt x="715" y="660"/>
                  <a:pt x="660" y="715"/>
                  <a:pt x="654" y="784"/>
                </a:cubicBezTo>
                <a:lnTo>
                  <a:pt x="155" y="784"/>
                </a:lnTo>
                <a:cubicBezTo>
                  <a:pt x="149" y="715"/>
                  <a:pt x="94" y="660"/>
                  <a:pt x="25" y="654"/>
                </a:cubicBezTo>
                <a:lnTo>
                  <a:pt x="25" y="243"/>
                </a:lnTo>
                <a:lnTo>
                  <a:pt x="78" y="401"/>
                </a:lnTo>
                <a:cubicBezTo>
                  <a:pt x="91" y="440"/>
                  <a:pt x="126" y="465"/>
                  <a:pt x="166" y="465"/>
                </a:cubicBezTo>
                <a:lnTo>
                  <a:pt x="180" y="465"/>
                </a:lnTo>
                <a:lnTo>
                  <a:pt x="180" y="478"/>
                </a:lnTo>
                <a:cubicBezTo>
                  <a:pt x="180" y="512"/>
                  <a:pt x="207" y="540"/>
                  <a:pt x="241" y="540"/>
                </a:cubicBezTo>
                <a:cubicBezTo>
                  <a:pt x="275" y="540"/>
                  <a:pt x="302" y="512"/>
                  <a:pt x="302" y="478"/>
                </a:cubicBezTo>
                <a:lnTo>
                  <a:pt x="302" y="465"/>
                </a:lnTo>
                <a:lnTo>
                  <a:pt x="506" y="465"/>
                </a:lnTo>
                <a:lnTo>
                  <a:pt x="506" y="478"/>
                </a:lnTo>
                <a:cubicBezTo>
                  <a:pt x="506" y="512"/>
                  <a:pt x="534" y="540"/>
                  <a:pt x="568" y="540"/>
                </a:cubicBezTo>
                <a:cubicBezTo>
                  <a:pt x="602" y="540"/>
                  <a:pt x="629" y="512"/>
                  <a:pt x="629" y="478"/>
                </a:cubicBezTo>
                <a:lnTo>
                  <a:pt x="629" y="465"/>
                </a:lnTo>
                <a:lnTo>
                  <a:pt x="642" y="465"/>
                </a:lnTo>
                <a:cubicBezTo>
                  <a:pt x="683" y="465"/>
                  <a:pt x="718" y="440"/>
                  <a:pt x="731" y="401"/>
                </a:cubicBezTo>
                <a:lnTo>
                  <a:pt x="784" y="243"/>
                </a:lnTo>
                <a:lnTo>
                  <a:pt x="784" y="654"/>
                </a:lnTo>
                <a:close/>
                <a:moveTo>
                  <a:pt x="784" y="747"/>
                </a:moveTo>
                <a:lnTo>
                  <a:pt x="784" y="747"/>
                </a:lnTo>
                <a:cubicBezTo>
                  <a:pt x="784" y="768"/>
                  <a:pt x="768" y="784"/>
                  <a:pt x="748" y="784"/>
                </a:cubicBezTo>
                <a:lnTo>
                  <a:pt x="679" y="784"/>
                </a:lnTo>
                <a:cubicBezTo>
                  <a:pt x="684" y="729"/>
                  <a:pt x="729" y="684"/>
                  <a:pt x="784" y="679"/>
                </a:cubicBezTo>
                <a:lnTo>
                  <a:pt x="784" y="747"/>
                </a:lnTo>
                <a:close/>
                <a:moveTo>
                  <a:pt x="61" y="784"/>
                </a:moveTo>
                <a:lnTo>
                  <a:pt x="61" y="784"/>
                </a:lnTo>
                <a:cubicBezTo>
                  <a:pt x="41" y="784"/>
                  <a:pt x="25" y="768"/>
                  <a:pt x="25" y="747"/>
                </a:cubicBezTo>
                <a:lnTo>
                  <a:pt x="25" y="679"/>
                </a:lnTo>
                <a:cubicBezTo>
                  <a:pt x="80" y="684"/>
                  <a:pt x="125" y="729"/>
                  <a:pt x="130" y="784"/>
                </a:cubicBezTo>
                <a:lnTo>
                  <a:pt x="61" y="784"/>
                </a:lnTo>
                <a:close/>
                <a:moveTo>
                  <a:pt x="278" y="425"/>
                </a:moveTo>
                <a:lnTo>
                  <a:pt x="278" y="478"/>
                </a:lnTo>
                <a:cubicBezTo>
                  <a:pt x="278" y="498"/>
                  <a:pt x="261" y="515"/>
                  <a:pt x="241" y="515"/>
                </a:cubicBezTo>
                <a:cubicBezTo>
                  <a:pt x="221" y="515"/>
                  <a:pt x="205" y="498"/>
                  <a:pt x="205" y="478"/>
                </a:cubicBezTo>
                <a:lnTo>
                  <a:pt x="205" y="425"/>
                </a:lnTo>
                <a:lnTo>
                  <a:pt x="278" y="425"/>
                </a:lnTo>
                <a:close/>
                <a:moveTo>
                  <a:pt x="604" y="425"/>
                </a:moveTo>
                <a:lnTo>
                  <a:pt x="604" y="478"/>
                </a:lnTo>
                <a:cubicBezTo>
                  <a:pt x="604" y="498"/>
                  <a:pt x="588" y="515"/>
                  <a:pt x="568" y="515"/>
                </a:cubicBezTo>
                <a:cubicBezTo>
                  <a:pt x="548" y="515"/>
                  <a:pt x="531" y="498"/>
                  <a:pt x="531" y="478"/>
                </a:cubicBezTo>
                <a:lnTo>
                  <a:pt x="531" y="425"/>
                </a:lnTo>
                <a:lnTo>
                  <a:pt x="604" y="425"/>
                </a:lnTo>
                <a:close/>
                <a:moveTo>
                  <a:pt x="32" y="138"/>
                </a:moveTo>
                <a:lnTo>
                  <a:pt x="32" y="138"/>
                </a:lnTo>
                <a:cubicBezTo>
                  <a:pt x="38" y="128"/>
                  <a:pt x="49" y="123"/>
                  <a:pt x="61" y="123"/>
                </a:cubicBezTo>
                <a:lnTo>
                  <a:pt x="747" y="123"/>
                </a:lnTo>
                <a:cubicBezTo>
                  <a:pt x="760" y="123"/>
                  <a:pt x="770" y="128"/>
                  <a:pt x="777" y="138"/>
                </a:cubicBezTo>
                <a:cubicBezTo>
                  <a:pt x="784" y="148"/>
                  <a:pt x="786" y="159"/>
                  <a:pt x="783" y="171"/>
                </a:cubicBezTo>
                <a:lnTo>
                  <a:pt x="708" y="394"/>
                </a:lnTo>
                <a:cubicBezTo>
                  <a:pt x="698" y="422"/>
                  <a:pt x="672" y="441"/>
                  <a:pt x="642" y="441"/>
                </a:cubicBezTo>
                <a:lnTo>
                  <a:pt x="629" y="441"/>
                </a:lnTo>
                <a:lnTo>
                  <a:pt x="629" y="412"/>
                </a:lnTo>
                <a:cubicBezTo>
                  <a:pt x="629" y="406"/>
                  <a:pt x="624" y="400"/>
                  <a:pt x="617" y="400"/>
                </a:cubicBezTo>
                <a:lnTo>
                  <a:pt x="519" y="400"/>
                </a:lnTo>
                <a:cubicBezTo>
                  <a:pt x="512" y="400"/>
                  <a:pt x="506" y="406"/>
                  <a:pt x="506" y="412"/>
                </a:cubicBezTo>
                <a:lnTo>
                  <a:pt x="506" y="441"/>
                </a:lnTo>
                <a:lnTo>
                  <a:pt x="302" y="441"/>
                </a:lnTo>
                <a:lnTo>
                  <a:pt x="302" y="412"/>
                </a:lnTo>
                <a:cubicBezTo>
                  <a:pt x="302" y="406"/>
                  <a:pt x="297" y="400"/>
                  <a:pt x="290" y="400"/>
                </a:cubicBezTo>
                <a:lnTo>
                  <a:pt x="192" y="400"/>
                </a:lnTo>
                <a:cubicBezTo>
                  <a:pt x="185" y="400"/>
                  <a:pt x="180" y="406"/>
                  <a:pt x="180" y="412"/>
                </a:cubicBezTo>
                <a:lnTo>
                  <a:pt x="180" y="441"/>
                </a:lnTo>
                <a:lnTo>
                  <a:pt x="166" y="441"/>
                </a:lnTo>
                <a:cubicBezTo>
                  <a:pt x="137" y="441"/>
                  <a:pt x="110" y="422"/>
                  <a:pt x="101" y="394"/>
                </a:cubicBezTo>
                <a:lnTo>
                  <a:pt x="27" y="171"/>
                </a:lnTo>
                <a:cubicBezTo>
                  <a:pt x="23" y="159"/>
                  <a:pt x="25" y="148"/>
                  <a:pt x="32" y="138"/>
                </a:cubicBezTo>
                <a:close/>
                <a:moveTo>
                  <a:pt x="253" y="78"/>
                </a:moveTo>
                <a:lnTo>
                  <a:pt x="253" y="78"/>
                </a:lnTo>
                <a:cubicBezTo>
                  <a:pt x="253" y="48"/>
                  <a:pt x="277" y="24"/>
                  <a:pt x="306" y="24"/>
                </a:cubicBezTo>
                <a:lnTo>
                  <a:pt x="502" y="24"/>
                </a:lnTo>
                <a:cubicBezTo>
                  <a:pt x="532" y="24"/>
                  <a:pt x="556" y="48"/>
                  <a:pt x="556" y="78"/>
                </a:cubicBezTo>
                <a:lnTo>
                  <a:pt x="556" y="98"/>
                </a:lnTo>
                <a:lnTo>
                  <a:pt x="253" y="98"/>
                </a:lnTo>
                <a:lnTo>
                  <a:pt x="253" y="78"/>
                </a:lnTo>
                <a:close/>
                <a:moveTo>
                  <a:pt x="797" y="124"/>
                </a:moveTo>
                <a:lnTo>
                  <a:pt x="797" y="124"/>
                </a:lnTo>
                <a:cubicBezTo>
                  <a:pt x="785" y="107"/>
                  <a:pt x="767" y="98"/>
                  <a:pt x="747" y="98"/>
                </a:cubicBezTo>
                <a:lnTo>
                  <a:pt x="580" y="98"/>
                </a:lnTo>
                <a:lnTo>
                  <a:pt x="580" y="78"/>
                </a:lnTo>
                <a:cubicBezTo>
                  <a:pt x="580" y="35"/>
                  <a:pt x="545" y="0"/>
                  <a:pt x="502" y="0"/>
                </a:cubicBezTo>
                <a:lnTo>
                  <a:pt x="306" y="0"/>
                </a:lnTo>
                <a:cubicBezTo>
                  <a:pt x="264" y="0"/>
                  <a:pt x="229" y="35"/>
                  <a:pt x="229" y="78"/>
                </a:cubicBezTo>
                <a:lnTo>
                  <a:pt x="229" y="98"/>
                </a:lnTo>
                <a:lnTo>
                  <a:pt x="61" y="98"/>
                </a:lnTo>
                <a:cubicBezTo>
                  <a:pt x="41" y="98"/>
                  <a:pt x="24" y="107"/>
                  <a:pt x="12" y="124"/>
                </a:cubicBezTo>
                <a:cubicBezTo>
                  <a:pt x="4" y="135"/>
                  <a:pt x="0" y="148"/>
                  <a:pt x="0" y="161"/>
                </a:cubicBezTo>
                <a:lnTo>
                  <a:pt x="0" y="747"/>
                </a:lnTo>
                <a:cubicBezTo>
                  <a:pt x="0" y="782"/>
                  <a:pt x="28" y="809"/>
                  <a:pt x="61" y="809"/>
                </a:cubicBezTo>
                <a:lnTo>
                  <a:pt x="748" y="809"/>
                </a:lnTo>
                <a:cubicBezTo>
                  <a:pt x="781" y="809"/>
                  <a:pt x="809" y="782"/>
                  <a:pt x="809" y="747"/>
                </a:cubicBezTo>
                <a:lnTo>
                  <a:pt x="809" y="161"/>
                </a:lnTo>
                <a:cubicBezTo>
                  <a:pt x="809" y="148"/>
                  <a:pt x="805" y="135"/>
                  <a:pt x="797" y="124"/>
                </a:cubicBezTo>
                <a:close/>
              </a:path>
            </a:pathLst>
          </a:custGeom>
          <a:solidFill>
            <a:schemeClr val="bg1"/>
          </a:solidFill>
          <a:ln>
            <a:noFill/>
          </a:ln>
          <a:effectLst/>
        </p:spPr>
        <p:txBody>
          <a:bodyPr wrap="none" anchor="ctr"/>
          <a:lstStyle/>
          <a:p>
            <a:endParaRPr lang="en-GB" sz="567" dirty="0"/>
          </a:p>
        </p:txBody>
      </p:sp>
      <p:sp>
        <p:nvSpPr>
          <p:cNvPr id="29" name="Freeform 949">
            <a:extLst>
              <a:ext uri="{FF2B5EF4-FFF2-40B4-BE49-F238E27FC236}">
                <a16:creationId xmlns:a16="http://schemas.microsoft.com/office/drawing/2014/main" id="{A7B685A6-D4C7-44E9-951B-7022BEF6089D}"/>
              </a:ext>
            </a:extLst>
          </p:cNvPr>
          <p:cNvSpPr>
            <a:spLocks noChangeAspect="1" noChangeArrowheads="1"/>
          </p:cNvSpPr>
          <p:nvPr/>
        </p:nvSpPr>
        <p:spPr bwMode="auto">
          <a:xfrm>
            <a:off x="7035874" y="2574837"/>
            <a:ext cx="532292" cy="533891"/>
          </a:xfrm>
          <a:custGeom>
            <a:avLst/>
            <a:gdLst>
              <a:gd name="T0" fmla="*/ 1584479 w 291288"/>
              <a:gd name="T1" fmla="*/ 5081546 h 291739"/>
              <a:gd name="T2" fmla="*/ 1497482 w 291288"/>
              <a:gd name="T3" fmla="*/ 5650958 h 291739"/>
              <a:gd name="T4" fmla="*/ 2845342 w 291288"/>
              <a:gd name="T5" fmla="*/ 5650958 h 291739"/>
              <a:gd name="T6" fmla="*/ 2845342 w 291288"/>
              <a:gd name="T7" fmla="*/ 5081546 h 291739"/>
              <a:gd name="T8" fmla="*/ 1693171 w 291288"/>
              <a:gd name="T9" fmla="*/ 4411191 h 291739"/>
              <a:gd name="T10" fmla="*/ 1613438 w 291288"/>
              <a:gd name="T11" fmla="*/ 4901341 h 291739"/>
              <a:gd name="T12" fmla="*/ 2932303 w 291288"/>
              <a:gd name="T13" fmla="*/ 4901341 h 291739"/>
              <a:gd name="T14" fmla="*/ 3019233 w 291288"/>
              <a:gd name="T15" fmla="*/ 4995057 h 291739"/>
              <a:gd name="T16" fmla="*/ 3019233 w 291288"/>
              <a:gd name="T17" fmla="*/ 5650958 h 291739"/>
              <a:gd name="T18" fmla="*/ 5396083 w 291288"/>
              <a:gd name="T19" fmla="*/ 5650958 h 291739"/>
              <a:gd name="T20" fmla="*/ 2910585 w 291288"/>
              <a:gd name="T21" fmla="*/ 4411191 h 291739"/>
              <a:gd name="T22" fmla="*/ 584454 w 291288"/>
              <a:gd name="T23" fmla="*/ 4411191 h 291739"/>
              <a:gd name="T24" fmla="*/ 207645 w 291288"/>
              <a:gd name="T25" fmla="*/ 5650958 h 291739"/>
              <a:gd name="T26" fmla="*/ 1316308 w 291288"/>
              <a:gd name="T27" fmla="*/ 5650958 h 291739"/>
              <a:gd name="T28" fmla="*/ 1519225 w 291288"/>
              <a:gd name="T29" fmla="*/ 4411191 h 291739"/>
              <a:gd name="T30" fmla="*/ 5193231 w 291288"/>
              <a:gd name="T31" fmla="*/ 4122900 h 291739"/>
              <a:gd name="T32" fmla="*/ 3954030 w 291288"/>
              <a:gd name="T33" fmla="*/ 4742764 h 291739"/>
              <a:gd name="T34" fmla="*/ 5627966 w 291288"/>
              <a:gd name="T35" fmla="*/ 5571682 h 291739"/>
              <a:gd name="T36" fmla="*/ 3794641 w 291288"/>
              <a:gd name="T37" fmla="*/ 3474189 h 291739"/>
              <a:gd name="T38" fmla="*/ 3077250 w 291288"/>
              <a:gd name="T39" fmla="*/ 4303085 h 291739"/>
              <a:gd name="T40" fmla="*/ 3758425 w 291288"/>
              <a:gd name="T41" fmla="*/ 4634659 h 291739"/>
              <a:gd name="T42" fmla="*/ 5142442 w 291288"/>
              <a:gd name="T43" fmla="*/ 3949899 h 291739"/>
              <a:gd name="T44" fmla="*/ 4997488 w 291288"/>
              <a:gd name="T45" fmla="*/ 3474189 h 291739"/>
              <a:gd name="T46" fmla="*/ 1852580 w 291288"/>
              <a:gd name="T47" fmla="*/ 3474189 h 291739"/>
              <a:gd name="T48" fmla="*/ 1729406 w 291288"/>
              <a:gd name="T49" fmla="*/ 4238207 h 291739"/>
              <a:gd name="T50" fmla="*/ 2714865 w 291288"/>
              <a:gd name="T51" fmla="*/ 4238207 h 291739"/>
              <a:gd name="T52" fmla="*/ 2069980 w 291288"/>
              <a:gd name="T53" fmla="*/ 3474189 h 291739"/>
              <a:gd name="T54" fmla="*/ 867039 w 291288"/>
              <a:gd name="T55" fmla="*/ 3474189 h 291739"/>
              <a:gd name="T56" fmla="*/ 635160 w 291288"/>
              <a:gd name="T57" fmla="*/ 4238207 h 291739"/>
              <a:gd name="T58" fmla="*/ 1548259 w 291288"/>
              <a:gd name="T59" fmla="*/ 4238207 h 291739"/>
              <a:gd name="T60" fmla="*/ 1671433 w 291288"/>
              <a:gd name="T61" fmla="*/ 3474189 h 291739"/>
              <a:gd name="T62" fmla="*/ 2932303 w 291288"/>
              <a:gd name="T63" fmla="*/ 1029775 h 291739"/>
              <a:gd name="T64" fmla="*/ 2318097 w 291288"/>
              <a:gd name="T65" fmla="*/ 1649975 h 291739"/>
              <a:gd name="T66" fmla="*/ 2932303 w 291288"/>
              <a:gd name="T67" fmla="*/ 2262922 h 291739"/>
              <a:gd name="T68" fmla="*/ 3546535 w 291288"/>
              <a:gd name="T69" fmla="*/ 1649975 h 291739"/>
              <a:gd name="T70" fmla="*/ 2932303 w 291288"/>
              <a:gd name="T71" fmla="*/ 1029775 h 291739"/>
              <a:gd name="T72" fmla="*/ 2932303 w 291288"/>
              <a:gd name="T73" fmla="*/ 856672 h 291739"/>
              <a:gd name="T74" fmla="*/ 3727168 w 291288"/>
              <a:gd name="T75" fmla="*/ 1649975 h 291739"/>
              <a:gd name="T76" fmla="*/ 2932303 w 291288"/>
              <a:gd name="T77" fmla="*/ 2436012 h 291739"/>
              <a:gd name="T78" fmla="*/ 2137424 w 291288"/>
              <a:gd name="T79" fmla="*/ 1649975 h 291739"/>
              <a:gd name="T80" fmla="*/ 2932303 w 291288"/>
              <a:gd name="T81" fmla="*/ 856672 h 291739"/>
              <a:gd name="T82" fmla="*/ 2932303 w 291288"/>
              <a:gd name="T83" fmla="*/ 173024 h 291739"/>
              <a:gd name="T84" fmla="*/ 1468514 w 291288"/>
              <a:gd name="T85" fmla="*/ 1628973 h 291739"/>
              <a:gd name="T86" fmla="*/ 2932303 w 291288"/>
              <a:gd name="T87" fmla="*/ 4202168 h 291739"/>
              <a:gd name="T88" fmla="*/ 4388832 w 291288"/>
              <a:gd name="T89" fmla="*/ 1628973 h 291739"/>
              <a:gd name="T90" fmla="*/ 2932303 w 291288"/>
              <a:gd name="T91" fmla="*/ 173024 h 291739"/>
              <a:gd name="T92" fmla="*/ 2932303 w 291288"/>
              <a:gd name="T93" fmla="*/ 0 h 291739"/>
              <a:gd name="T94" fmla="*/ 4562730 w 291288"/>
              <a:gd name="T95" fmla="*/ 1628973 h 291739"/>
              <a:gd name="T96" fmla="*/ 3910540 w 291288"/>
              <a:gd name="T97" fmla="*/ 3293975 h 291739"/>
              <a:gd name="T98" fmla="*/ 5062700 w 291288"/>
              <a:gd name="T99" fmla="*/ 3293975 h 291739"/>
              <a:gd name="T100" fmla="*/ 5142442 w 291288"/>
              <a:gd name="T101" fmla="*/ 3358853 h 291739"/>
              <a:gd name="T102" fmla="*/ 5852599 w 291288"/>
              <a:gd name="T103" fmla="*/ 5708624 h 291739"/>
              <a:gd name="T104" fmla="*/ 5845367 w 291288"/>
              <a:gd name="T105" fmla="*/ 5795115 h 291739"/>
              <a:gd name="T106" fmla="*/ 5772890 w 291288"/>
              <a:gd name="T107" fmla="*/ 5831143 h 291739"/>
              <a:gd name="T108" fmla="*/ 84495 w 291288"/>
              <a:gd name="T109" fmla="*/ 5831143 h 291739"/>
              <a:gd name="T110" fmla="*/ 12038 w 291288"/>
              <a:gd name="T111" fmla="*/ 5795115 h 291739"/>
              <a:gd name="T112" fmla="*/ 4793 w 291288"/>
              <a:gd name="T113" fmla="*/ 5708624 h 291739"/>
              <a:gd name="T114" fmla="*/ 714891 w 291288"/>
              <a:gd name="T115" fmla="*/ 3358853 h 291739"/>
              <a:gd name="T116" fmla="*/ 801841 w 291288"/>
              <a:gd name="T117" fmla="*/ 3293975 h 291739"/>
              <a:gd name="T118" fmla="*/ 1939515 w 291288"/>
              <a:gd name="T119" fmla="*/ 3293975 h 291739"/>
              <a:gd name="T120" fmla="*/ 1294593 w 291288"/>
              <a:gd name="T121" fmla="*/ 1628973 h 291739"/>
              <a:gd name="T122" fmla="*/ 2932303 w 291288"/>
              <a:gd name="T123" fmla="*/ 0 h 2917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1288" h="291739">
                <a:moveTo>
                  <a:pt x="78754" y="254235"/>
                </a:moveTo>
                <a:lnTo>
                  <a:pt x="74431" y="282724"/>
                </a:lnTo>
                <a:lnTo>
                  <a:pt x="141424" y="282724"/>
                </a:lnTo>
                <a:lnTo>
                  <a:pt x="141424" y="254235"/>
                </a:lnTo>
                <a:lnTo>
                  <a:pt x="78754" y="254235"/>
                </a:lnTo>
                <a:close/>
                <a:moveTo>
                  <a:pt x="84156" y="220698"/>
                </a:moveTo>
                <a:lnTo>
                  <a:pt x="80194" y="245220"/>
                </a:lnTo>
                <a:lnTo>
                  <a:pt x="145746" y="245220"/>
                </a:lnTo>
                <a:cubicBezTo>
                  <a:pt x="147907" y="245220"/>
                  <a:pt x="150068" y="247384"/>
                  <a:pt x="150068" y="249908"/>
                </a:cubicBezTo>
                <a:lnTo>
                  <a:pt x="150068" y="282724"/>
                </a:lnTo>
                <a:lnTo>
                  <a:pt x="268205" y="282724"/>
                </a:lnTo>
                <a:lnTo>
                  <a:pt x="144666" y="220698"/>
                </a:lnTo>
                <a:lnTo>
                  <a:pt x="84156" y="220698"/>
                </a:lnTo>
                <a:close/>
                <a:moveTo>
                  <a:pt x="29050" y="220698"/>
                </a:moveTo>
                <a:lnTo>
                  <a:pt x="10321" y="282724"/>
                </a:lnTo>
                <a:lnTo>
                  <a:pt x="65427" y="282724"/>
                </a:lnTo>
                <a:lnTo>
                  <a:pt x="75512" y="220698"/>
                </a:lnTo>
                <a:lnTo>
                  <a:pt x="29050" y="220698"/>
                </a:lnTo>
                <a:close/>
                <a:moveTo>
                  <a:pt x="258120" y="206273"/>
                </a:moveTo>
                <a:lnTo>
                  <a:pt x="196530" y="237286"/>
                </a:lnTo>
                <a:lnTo>
                  <a:pt x="279730" y="278757"/>
                </a:lnTo>
                <a:lnTo>
                  <a:pt x="258120" y="206273"/>
                </a:lnTo>
                <a:close/>
                <a:moveTo>
                  <a:pt x="188607" y="173818"/>
                </a:moveTo>
                <a:cubicBezTo>
                  <a:pt x="174200" y="192930"/>
                  <a:pt x="160153" y="208076"/>
                  <a:pt x="152950" y="215289"/>
                </a:cubicBezTo>
                <a:lnTo>
                  <a:pt x="186806" y="231877"/>
                </a:lnTo>
                <a:lnTo>
                  <a:pt x="255599" y="197618"/>
                </a:lnTo>
                <a:lnTo>
                  <a:pt x="248395" y="173818"/>
                </a:lnTo>
                <a:lnTo>
                  <a:pt x="188607" y="173818"/>
                </a:lnTo>
                <a:close/>
                <a:moveTo>
                  <a:pt x="92080" y="173818"/>
                </a:moveTo>
                <a:lnTo>
                  <a:pt x="85957" y="212043"/>
                </a:lnTo>
                <a:lnTo>
                  <a:pt x="134941" y="212043"/>
                </a:lnTo>
                <a:cubicBezTo>
                  <a:pt x="127377" y="204109"/>
                  <a:pt x="115131" y="190406"/>
                  <a:pt x="102885" y="173818"/>
                </a:cubicBezTo>
                <a:lnTo>
                  <a:pt x="92080" y="173818"/>
                </a:lnTo>
                <a:close/>
                <a:moveTo>
                  <a:pt x="43096" y="173818"/>
                </a:moveTo>
                <a:lnTo>
                  <a:pt x="31571" y="212043"/>
                </a:lnTo>
                <a:lnTo>
                  <a:pt x="76953" y="212043"/>
                </a:lnTo>
                <a:lnTo>
                  <a:pt x="83076" y="173818"/>
                </a:lnTo>
                <a:lnTo>
                  <a:pt x="43096" y="173818"/>
                </a:lnTo>
                <a:close/>
                <a:moveTo>
                  <a:pt x="145746" y="51521"/>
                </a:moveTo>
                <a:cubicBezTo>
                  <a:pt x="128866" y="51521"/>
                  <a:pt x="115217" y="65592"/>
                  <a:pt x="115217" y="82550"/>
                </a:cubicBezTo>
                <a:cubicBezTo>
                  <a:pt x="115217" y="99507"/>
                  <a:pt x="128866" y="113217"/>
                  <a:pt x="145746" y="113217"/>
                </a:cubicBezTo>
                <a:cubicBezTo>
                  <a:pt x="162627" y="113217"/>
                  <a:pt x="176275" y="99507"/>
                  <a:pt x="176275" y="82550"/>
                </a:cubicBezTo>
                <a:cubicBezTo>
                  <a:pt x="176275" y="65592"/>
                  <a:pt x="162627" y="51521"/>
                  <a:pt x="145746" y="51521"/>
                </a:cubicBezTo>
                <a:close/>
                <a:moveTo>
                  <a:pt x="145746" y="42862"/>
                </a:moveTo>
                <a:cubicBezTo>
                  <a:pt x="167296" y="42862"/>
                  <a:pt x="185254" y="60541"/>
                  <a:pt x="185254" y="82550"/>
                </a:cubicBezTo>
                <a:cubicBezTo>
                  <a:pt x="185254" y="104197"/>
                  <a:pt x="167296" y="121876"/>
                  <a:pt x="145746" y="121876"/>
                </a:cubicBezTo>
                <a:cubicBezTo>
                  <a:pt x="123837" y="121876"/>
                  <a:pt x="106238" y="104197"/>
                  <a:pt x="106238" y="82550"/>
                </a:cubicBezTo>
                <a:cubicBezTo>
                  <a:pt x="106238" y="60541"/>
                  <a:pt x="123837" y="42862"/>
                  <a:pt x="145746" y="42862"/>
                </a:cubicBezTo>
                <a:close/>
                <a:moveTo>
                  <a:pt x="145746" y="8655"/>
                </a:moveTo>
                <a:cubicBezTo>
                  <a:pt x="105767" y="8655"/>
                  <a:pt x="72991" y="41471"/>
                  <a:pt x="72991" y="81500"/>
                </a:cubicBezTo>
                <a:cubicBezTo>
                  <a:pt x="72991" y="133428"/>
                  <a:pt x="131339" y="195815"/>
                  <a:pt x="145746" y="210240"/>
                </a:cubicBezTo>
                <a:cubicBezTo>
                  <a:pt x="159793" y="195815"/>
                  <a:pt x="218141" y="133068"/>
                  <a:pt x="218141" y="81500"/>
                </a:cubicBezTo>
                <a:cubicBezTo>
                  <a:pt x="218141" y="41471"/>
                  <a:pt x="185725" y="8655"/>
                  <a:pt x="145746" y="8655"/>
                </a:cubicBezTo>
                <a:close/>
                <a:moveTo>
                  <a:pt x="145746" y="0"/>
                </a:moveTo>
                <a:cubicBezTo>
                  <a:pt x="190408" y="0"/>
                  <a:pt x="226785" y="36422"/>
                  <a:pt x="226785" y="81500"/>
                </a:cubicBezTo>
                <a:cubicBezTo>
                  <a:pt x="226785" y="109628"/>
                  <a:pt x="211658" y="139920"/>
                  <a:pt x="194369" y="164802"/>
                </a:cubicBezTo>
                <a:lnTo>
                  <a:pt x="251637" y="164802"/>
                </a:lnTo>
                <a:cubicBezTo>
                  <a:pt x="253438" y="164802"/>
                  <a:pt x="255239" y="166245"/>
                  <a:pt x="255599" y="168048"/>
                </a:cubicBezTo>
                <a:lnTo>
                  <a:pt x="290896" y="285609"/>
                </a:lnTo>
                <a:cubicBezTo>
                  <a:pt x="291616" y="287051"/>
                  <a:pt x="291256" y="288494"/>
                  <a:pt x="290536" y="289936"/>
                </a:cubicBezTo>
                <a:cubicBezTo>
                  <a:pt x="289455" y="291018"/>
                  <a:pt x="288375" y="291739"/>
                  <a:pt x="286934" y="291739"/>
                </a:cubicBezTo>
                <a:lnTo>
                  <a:pt x="4198" y="291739"/>
                </a:lnTo>
                <a:cubicBezTo>
                  <a:pt x="3117" y="291739"/>
                  <a:pt x="1677" y="291018"/>
                  <a:pt x="596" y="289936"/>
                </a:cubicBezTo>
                <a:cubicBezTo>
                  <a:pt x="-124" y="288494"/>
                  <a:pt x="-124" y="287051"/>
                  <a:pt x="236" y="285609"/>
                </a:cubicBezTo>
                <a:lnTo>
                  <a:pt x="35533" y="168048"/>
                </a:lnTo>
                <a:cubicBezTo>
                  <a:pt x="36253" y="166245"/>
                  <a:pt x="37694" y="164802"/>
                  <a:pt x="39855" y="164802"/>
                </a:cubicBezTo>
                <a:lnTo>
                  <a:pt x="96402" y="164802"/>
                </a:lnTo>
                <a:cubicBezTo>
                  <a:pt x="79834" y="139920"/>
                  <a:pt x="64347" y="109628"/>
                  <a:pt x="64347" y="81500"/>
                </a:cubicBezTo>
                <a:cubicBezTo>
                  <a:pt x="64347" y="36422"/>
                  <a:pt x="100724" y="0"/>
                  <a:pt x="145746" y="0"/>
                </a:cubicBezTo>
                <a:close/>
              </a:path>
            </a:pathLst>
          </a:custGeom>
          <a:solidFill>
            <a:schemeClr val="bg1"/>
          </a:solidFill>
          <a:ln>
            <a:noFill/>
          </a:ln>
          <a:effectLst/>
        </p:spPr>
        <p:txBody>
          <a:bodyPr anchor="ctr"/>
          <a:lstStyle/>
          <a:p>
            <a:endParaRPr lang="en-GB" sz="567" dirty="0"/>
          </a:p>
        </p:txBody>
      </p:sp>
      <p:sp>
        <p:nvSpPr>
          <p:cNvPr id="30" name="Freeform 950">
            <a:extLst>
              <a:ext uri="{FF2B5EF4-FFF2-40B4-BE49-F238E27FC236}">
                <a16:creationId xmlns:a16="http://schemas.microsoft.com/office/drawing/2014/main" id="{5D9C329F-EAE0-4A7D-A444-1DB72D87DFCB}"/>
              </a:ext>
            </a:extLst>
          </p:cNvPr>
          <p:cNvSpPr>
            <a:spLocks noChangeAspect="1" noChangeArrowheads="1"/>
          </p:cNvSpPr>
          <p:nvPr/>
        </p:nvSpPr>
        <p:spPr bwMode="auto">
          <a:xfrm>
            <a:off x="6565581" y="4488107"/>
            <a:ext cx="533891" cy="533891"/>
          </a:xfrm>
          <a:custGeom>
            <a:avLst/>
            <a:gdLst>
              <a:gd name="T0" fmla="*/ 2720448 w 291740"/>
              <a:gd name="T1" fmla="*/ 4440269 h 291739"/>
              <a:gd name="T2" fmla="*/ 2720448 w 291740"/>
              <a:gd name="T3" fmla="*/ 4559972 h 291739"/>
              <a:gd name="T4" fmla="*/ 2596118 w 291740"/>
              <a:gd name="T5" fmla="*/ 4559972 h 291739"/>
              <a:gd name="T6" fmla="*/ 2596118 w 291740"/>
              <a:gd name="T7" fmla="*/ 4440269 h 291739"/>
              <a:gd name="T8" fmla="*/ 1072569 w 291740"/>
              <a:gd name="T9" fmla="*/ 4440269 h 291739"/>
              <a:gd name="T10" fmla="*/ 1072569 w 291740"/>
              <a:gd name="T11" fmla="*/ 4559972 h 291739"/>
              <a:gd name="T12" fmla="*/ 948255 w 291740"/>
              <a:gd name="T13" fmla="*/ 4559972 h 291739"/>
              <a:gd name="T14" fmla="*/ 948255 w 291740"/>
              <a:gd name="T15" fmla="*/ 4440269 h 291739"/>
              <a:gd name="T16" fmla="*/ 1925738 w 291740"/>
              <a:gd name="T17" fmla="*/ 4496307 h 291739"/>
              <a:gd name="T18" fmla="*/ 1742923 w 291740"/>
              <a:gd name="T19" fmla="*/ 4496307 h 291739"/>
              <a:gd name="T20" fmla="*/ 453510 w 291740"/>
              <a:gd name="T21" fmla="*/ 2613220 h 291739"/>
              <a:gd name="T22" fmla="*/ 179943 w 291740"/>
              <a:gd name="T23" fmla="*/ 4801691 h 291739"/>
              <a:gd name="T24" fmla="*/ 2267603 w 291740"/>
              <a:gd name="T25" fmla="*/ 5075267 h 291739"/>
              <a:gd name="T26" fmla="*/ 3505773 w 291740"/>
              <a:gd name="T27" fmla="*/ 5579186 h 291739"/>
              <a:gd name="T28" fmla="*/ 3030652 w 291740"/>
              <a:gd name="T29" fmla="*/ 3405091 h 291739"/>
              <a:gd name="T30" fmla="*/ 1497334 w 291740"/>
              <a:gd name="T31" fmla="*/ 4103407 h 291739"/>
              <a:gd name="T32" fmla="*/ 1403730 w 291740"/>
              <a:gd name="T33" fmla="*/ 4103407 h 291739"/>
              <a:gd name="T34" fmla="*/ 1360534 w 291740"/>
              <a:gd name="T35" fmla="*/ 2613220 h 291739"/>
              <a:gd name="T36" fmla="*/ 2178112 w 291740"/>
              <a:gd name="T37" fmla="*/ 2440190 h 291739"/>
              <a:gd name="T38" fmla="*/ 4270905 w 291740"/>
              <a:gd name="T39" fmla="*/ 2527945 h 291739"/>
              <a:gd name="T40" fmla="*/ 2178112 w 291740"/>
              <a:gd name="T41" fmla="*/ 2623047 h 291739"/>
              <a:gd name="T42" fmla="*/ 2178112 w 291740"/>
              <a:gd name="T43" fmla="*/ 2440190 h 291739"/>
              <a:gd name="T44" fmla="*/ 5007846 w 291740"/>
              <a:gd name="T45" fmla="*/ 1616230 h 291739"/>
              <a:gd name="T46" fmla="*/ 5007846 w 291740"/>
              <a:gd name="T47" fmla="*/ 1798769 h 291739"/>
              <a:gd name="T48" fmla="*/ 3232371 w 291740"/>
              <a:gd name="T49" fmla="*/ 1707480 h 291739"/>
              <a:gd name="T50" fmla="*/ 2176456 w 291740"/>
              <a:gd name="T51" fmla="*/ 1616230 h 291739"/>
              <a:gd name="T52" fmla="*/ 2813320 w 291740"/>
              <a:gd name="T53" fmla="*/ 1707480 h 291739"/>
              <a:gd name="T54" fmla="*/ 2176456 w 291740"/>
              <a:gd name="T55" fmla="*/ 1798769 h 291739"/>
              <a:gd name="T56" fmla="*/ 2176456 w 291740"/>
              <a:gd name="T57" fmla="*/ 1616230 h 291739"/>
              <a:gd name="T58" fmla="*/ 5007273 w 291740"/>
              <a:gd name="T59" fmla="*/ 792232 h 291739"/>
              <a:gd name="T60" fmla="*/ 5007273 w 291740"/>
              <a:gd name="T61" fmla="*/ 974820 h 291739"/>
              <a:gd name="T62" fmla="*/ 4278102 w 291740"/>
              <a:gd name="T63" fmla="*/ 883549 h 291739"/>
              <a:gd name="T64" fmla="*/ 2177405 w 291740"/>
              <a:gd name="T65" fmla="*/ 792232 h 291739"/>
              <a:gd name="T66" fmla="*/ 3859022 w 291740"/>
              <a:gd name="T67" fmla="*/ 883549 h 291739"/>
              <a:gd name="T68" fmla="*/ 2177405 w 291740"/>
              <a:gd name="T69" fmla="*/ 974820 h 291739"/>
              <a:gd name="T70" fmla="*/ 2177405 w 291740"/>
              <a:gd name="T71" fmla="*/ 792232 h 291739"/>
              <a:gd name="T72" fmla="*/ 1626897 w 291740"/>
              <a:gd name="T73" fmla="*/ 252009 h 291739"/>
              <a:gd name="T74" fmla="*/ 1540510 w 291740"/>
              <a:gd name="T75" fmla="*/ 3873031 h 291739"/>
              <a:gd name="T76" fmla="*/ 3030652 w 291740"/>
              <a:gd name="T77" fmla="*/ 3225140 h 291739"/>
              <a:gd name="T78" fmla="*/ 5564564 w 291740"/>
              <a:gd name="T79" fmla="*/ 3145937 h 291739"/>
              <a:gd name="T80" fmla="*/ 5643767 w 291740"/>
              <a:gd name="T81" fmla="*/ 446358 h 291739"/>
              <a:gd name="T82" fmla="*/ 5370223 w 291740"/>
              <a:gd name="T83" fmla="*/ 172808 h 291739"/>
              <a:gd name="T84" fmla="*/ 1814051 w 291740"/>
              <a:gd name="T85" fmla="*/ 0 h 291739"/>
              <a:gd name="T86" fmla="*/ 5686966 w 291740"/>
              <a:gd name="T87" fmla="*/ 122423 h 291739"/>
              <a:gd name="T88" fmla="*/ 5823729 w 291740"/>
              <a:gd name="T89" fmla="*/ 2951564 h 291739"/>
              <a:gd name="T90" fmla="*/ 5370223 w 291740"/>
              <a:gd name="T91" fmla="*/ 3405091 h 291739"/>
              <a:gd name="T92" fmla="*/ 3678545 w 291740"/>
              <a:gd name="T93" fmla="*/ 5730355 h 291739"/>
              <a:gd name="T94" fmla="*/ 3592130 w 291740"/>
              <a:gd name="T95" fmla="*/ 5823931 h 291739"/>
              <a:gd name="T96" fmla="*/ 2829096 w 291740"/>
              <a:gd name="T97" fmla="*/ 5399223 h 291739"/>
              <a:gd name="T98" fmla="*/ 453510 w 291740"/>
              <a:gd name="T99" fmla="*/ 5255254 h 291739"/>
              <a:gd name="T100" fmla="*/ 0 w 291740"/>
              <a:gd name="T101" fmla="*/ 2893956 h 291739"/>
              <a:gd name="T102" fmla="*/ 1360534 w 291740"/>
              <a:gd name="T103" fmla="*/ 2433257 h 291739"/>
              <a:gd name="T104" fmla="*/ 1504513 w 291740"/>
              <a:gd name="T105" fmla="*/ 122423 h 291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1740" h="291739">
                <a:moveTo>
                  <a:pt x="130053" y="222426"/>
                </a:moveTo>
                <a:cubicBezTo>
                  <a:pt x="131518" y="220662"/>
                  <a:pt x="134449" y="220662"/>
                  <a:pt x="136281" y="222426"/>
                </a:cubicBezTo>
                <a:cubicBezTo>
                  <a:pt x="137013" y="223484"/>
                  <a:pt x="137746" y="224190"/>
                  <a:pt x="137746" y="225601"/>
                </a:cubicBezTo>
                <a:cubicBezTo>
                  <a:pt x="137746" y="226659"/>
                  <a:pt x="137013" y="227718"/>
                  <a:pt x="136281" y="228423"/>
                </a:cubicBezTo>
                <a:cubicBezTo>
                  <a:pt x="135548" y="229482"/>
                  <a:pt x="134082" y="229834"/>
                  <a:pt x="132983" y="229834"/>
                </a:cubicBezTo>
                <a:cubicBezTo>
                  <a:pt x="131884" y="229834"/>
                  <a:pt x="130785" y="229482"/>
                  <a:pt x="130053" y="228423"/>
                </a:cubicBezTo>
                <a:cubicBezTo>
                  <a:pt x="128954" y="227718"/>
                  <a:pt x="128587" y="226659"/>
                  <a:pt x="128587" y="225601"/>
                </a:cubicBezTo>
                <a:cubicBezTo>
                  <a:pt x="128587" y="224190"/>
                  <a:pt x="128954" y="223484"/>
                  <a:pt x="130053" y="222426"/>
                </a:cubicBezTo>
                <a:close/>
                <a:moveTo>
                  <a:pt x="47502" y="222426"/>
                </a:moveTo>
                <a:cubicBezTo>
                  <a:pt x="48968" y="220662"/>
                  <a:pt x="52265" y="220662"/>
                  <a:pt x="53730" y="222426"/>
                </a:cubicBezTo>
                <a:cubicBezTo>
                  <a:pt x="54463" y="223484"/>
                  <a:pt x="55195" y="224190"/>
                  <a:pt x="55195" y="225601"/>
                </a:cubicBezTo>
                <a:cubicBezTo>
                  <a:pt x="55195" y="226659"/>
                  <a:pt x="54463" y="227718"/>
                  <a:pt x="53730" y="228423"/>
                </a:cubicBezTo>
                <a:cubicBezTo>
                  <a:pt x="52997" y="229482"/>
                  <a:pt x="51898" y="229834"/>
                  <a:pt x="50799" y="229834"/>
                </a:cubicBezTo>
                <a:cubicBezTo>
                  <a:pt x="49334" y="229834"/>
                  <a:pt x="48601" y="229482"/>
                  <a:pt x="47502" y="228423"/>
                </a:cubicBezTo>
                <a:cubicBezTo>
                  <a:pt x="46769" y="227718"/>
                  <a:pt x="46037" y="226659"/>
                  <a:pt x="46037" y="225601"/>
                </a:cubicBezTo>
                <a:cubicBezTo>
                  <a:pt x="46037" y="224190"/>
                  <a:pt x="46769" y="223484"/>
                  <a:pt x="47502" y="222426"/>
                </a:cubicBezTo>
                <a:close/>
                <a:moveTo>
                  <a:pt x="92074" y="220662"/>
                </a:moveTo>
                <a:cubicBezTo>
                  <a:pt x="94639" y="220662"/>
                  <a:pt x="96470" y="222567"/>
                  <a:pt x="96470" y="225234"/>
                </a:cubicBezTo>
                <a:cubicBezTo>
                  <a:pt x="96470" y="227520"/>
                  <a:pt x="94639" y="229806"/>
                  <a:pt x="92074" y="229806"/>
                </a:cubicBezTo>
                <a:cubicBezTo>
                  <a:pt x="89510" y="229806"/>
                  <a:pt x="87312" y="227520"/>
                  <a:pt x="87312" y="225234"/>
                </a:cubicBezTo>
                <a:cubicBezTo>
                  <a:pt x="87312" y="222567"/>
                  <a:pt x="89510" y="220662"/>
                  <a:pt x="92074" y="220662"/>
                </a:cubicBezTo>
                <a:close/>
                <a:moveTo>
                  <a:pt x="22719" y="130904"/>
                </a:moveTo>
                <a:cubicBezTo>
                  <a:pt x="15146" y="130904"/>
                  <a:pt x="9015" y="137035"/>
                  <a:pt x="9015" y="144968"/>
                </a:cubicBezTo>
                <a:lnTo>
                  <a:pt x="9015" y="240532"/>
                </a:lnTo>
                <a:cubicBezTo>
                  <a:pt x="9015" y="248105"/>
                  <a:pt x="15146" y="254235"/>
                  <a:pt x="22719" y="254235"/>
                </a:cubicBezTo>
                <a:lnTo>
                  <a:pt x="113595" y="254235"/>
                </a:lnTo>
                <a:cubicBezTo>
                  <a:pt x="124774" y="254235"/>
                  <a:pt x="135953" y="257120"/>
                  <a:pt x="145690" y="262890"/>
                </a:cubicBezTo>
                <a:lnTo>
                  <a:pt x="175621" y="279478"/>
                </a:lnTo>
                <a:lnTo>
                  <a:pt x="175621" y="170572"/>
                </a:lnTo>
                <a:lnTo>
                  <a:pt x="151820" y="170572"/>
                </a:lnTo>
                <a:cubicBezTo>
                  <a:pt x="142083" y="170572"/>
                  <a:pt x="132707" y="172736"/>
                  <a:pt x="124053" y="177784"/>
                </a:cubicBezTo>
                <a:lnTo>
                  <a:pt x="75008" y="205552"/>
                </a:lnTo>
                <a:cubicBezTo>
                  <a:pt x="74287" y="205913"/>
                  <a:pt x="73566" y="206273"/>
                  <a:pt x="72844" y="206273"/>
                </a:cubicBezTo>
                <a:cubicBezTo>
                  <a:pt x="71763" y="206273"/>
                  <a:pt x="71402" y="205913"/>
                  <a:pt x="70320" y="205552"/>
                </a:cubicBezTo>
                <a:cubicBezTo>
                  <a:pt x="69238" y="204831"/>
                  <a:pt x="68156" y="203388"/>
                  <a:pt x="68156" y="201585"/>
                </a:cubicBezTo>
                <a:lnTo>
                  <a:pt x="68156" y="130904"/>
                </a:lnTo>
                <a:lnTo>
                  <a:pt x="22719" y="130904"/>
                </a:lnTo>
                <a:close/>
                <a:moveTo>
                  <a:pt x="109113" y="122237"/>
                </a:moveTo>
                <a:lnTo>
                  <a:pt x="209613" y="122237"/>
                </a:lnTo>
                <a:cubicBezTo>
                  <a:pt x="212143" y="122237"/>
                  <a:pt x="213951" y="124435"/>
                  <a:pt x="213951" y="126633"/>
                </a:cubicBezTo>
                <a:cubicBezTo>
                  <a:pt x="213951" y="129198"/>
                  <a:pt x="212143" y="131396"/>
                  <a:pt x="209613" y="131396"/>
                </a:cubicBezTo>
                <a:lnTo>
                  <a:pt x="109113" y="131396"/>
                </a:lnTo>
                <a:cubicBezTo>
                  <a:pt x="106583" y="131396"/>
                  <a:pt x="104775" y="129198"/>
                  <a:pt x="104775" y="126633"/>
                </a:cubicBezTo>
                <a:cubicBezTo>
                  <a:pt x="104775" y="124435"/>
                  <a:pt x="106583" y="122237"/>
                  <a:pt x="109113" y="122237"/>
                </a:cubicBezTo>
                <a:close/>
                <a:moveTo>
                  <a:pt x="166282" y="80962"/>
                </a:moveTo>
                <a:lnTo>
                  <a:pt x="250868" y="80962"/>
                </a:lnTo>
                <a:cubicBezTo>
                  <a:pt x="253409" y="80962"/>
                  <a:pt x="255224" y="82867"/>
                  <a:pt x="255224" y="85534"/>
                </a:cubicBezTo>
                <a:cubicBezTo>
                  <a:pt x="255224" y="88201"/>
                  <a:pt x="253409" y="90106"/>
                  <a:pt x="250868" y="90106"/>
                </a:cubicBezTo>
                <a:lnTo>
                  <a:pt x="166282" y="90106"/>
                </a:lnTo>
                <a:cubicBezTo>
                  <a:pt x="163740" y="90106"/>
                  <a:pt x="161925" y="88201"/>
                  <a:pt x="161925" y="85534"/>
                </a:cubicBezTo>
                <a:cubicBezTo>
                  <a:pt x="161925" y="82867"/>
                  <a:pt x="163740" y="80962"/>
                  <a:pt x="166282" y="80962"/>
                </a:cubicBezTo>
                <a:close/>
                <a:moveTo>
                  <a:pt x="109029" y="80962"/>
                </a:moveTo>
                <a:lnTo>
                  <a:pt x="136324" y="80962"/>
                </a:lnTo>
                <a:cubicBezTo>
                  <a:pt x="138806" y="80962"/>
                  <a:pt x="140933" y="82867"/>
                  <a:pt x="140933" y="85534"/>
                </a:cubicBezTo>
                <a:cubicBezTo>
                  <a:pt x="140933" y="88201"/>
                  <a:pt x="138806" y="90106"/>
                  <a:pt x="136324" y="90106"/>
                </a:cubicBezTo>
                <a:lnTo>
                  <a:pt x="109029" y="90106"/>
                </a:lnTo>
                <a:cubicBezTo>
                  <a:pt x="106548" y="90106"/>
                  <a:pt x="104775" y="88201"/>
                  <a:pt x="104775" y="85534"/>
                </a:cubicBezTo>
                <a:cubicBezTo>
                  <a:pt x="104775" y="82867"/>
                  <a:pt x="106548" y="80962"/>
                  <a:pt x="109029" y="80962"/>
                </a:cubicBezTo>
                <a:close/>
                <a:moveTo>
                  <a:pt x="218695" y="39687"/>
                </a:moveTo>
                <a:lnTo>
                  <a:pt x="250839" y="39687"/>
                </a:lnTo>
                <a:cubicBezTo>
                  <a:pt x="253396" y="39687"/>
                  <a:pt x="255222" y="41592"/>
                  <a:pt x="255222" y="44259"/>
                </a:cubicBezTo>
                <a:cubicBezTo>
                  <a:pt x="255222" y="46545"/>
                  <a:pt x="253396" y="48831"/>
                  <a:pt x="250839" y="48831"/>
                </a:cubicBezTo>
                <a:lnTo>
                  <a:pt x="218695" y="48831"/>
                </a:lnTo>
                <a:cubicBezTo>
                  <a:pt x="216139" y="48831"/>
                  <a:pt x="214312" y="46545"/>
                  <a:pt x="214312" y="44259"/>
                </a:cubicBezTo>
                <a:cubicBezTo>
                  <a:pt x="214312" y="41592"/>
                  <a:pt x="216139" y="39687"/>
                  <a:pt x="218695" y="39687"/>
                </a:cubicBezTo>
                <a:close/>
                <a:moveTo>
                  <a:pt x="109077" y="39687"/>
                </a:moveTo>
                <a:lnTo>
                  <a:pt x="188657" y="39687"/>
                </a:lnTo>
                <a:cubicBezTo>
                  <a:pt x="191166" y="39687"/>
                  <a:pt x="193317" y="41592"/>
                  <a:pt x="193317" y="44259"/>
                </a:cubicBezTo>
                <a:cubicBezTo>
                  <a:pt x="193317" y="46545"/>
                  <a:pt x="191166" y="48831"/>
                  <a:pt x="188657" y="48831"/>
                </a:cubicBezTo>
                <a:lnTo>
                  <a:pt x="109077" y="48831"/>
                </a:lnTo>
                <a:cubicBezTo>
                  <a:pt x="106568" y="48831"/>
                  <a:pt x="104775" y="46545"/>
                  <a:pt x="104775" y="44259"/>
                </a:cubicBezTo>
                <a:cubicBezTo>
                  <a:pt x="104775" y="41592"/>
                  <a:pt x="106568" y="39687"/>
                  <a:pt x="109077" y="39687"/>
                </a:cubicBezTo>
                <a:close/>
                <a:moveTo>
                  <a:pt x="90875" y="8655"/>
                </a:moveTo>
                <a:cubicBezTo>
                  <a:pt x="87269" y="8655"/>
                  <a:pt x="84024" y="10097"/>
                  <a:pt x="81499" y="12622"/>
                </a:cubicBezTo>
                <a:cubicBezTo>
                  <a:pt x="78614" y="15146"/>
                  <a:pt x="77172" y="18752"/>
                  <a:pt x="77172" y="22358"/>
                </a:cubicBezTo>
                <a:lnTo>
                  <a:pt x="77172" y="194012"/>
                </a:lnTo>
                <a:lnTo>
                  <a:pt x="119725" y="169851"/>
                </a:lnTo>
                <a:cubicBezTo>
                  <a:pt x="129462" y="164442"/>
                  <a:pt x="140641" y="161557"/>
                  <a:pt x="151820" y="161557"/>
                </a:cubicBezTo>
                <a:lnTo>
                  <a:pt x="269021" y="161557"/>
                </a:lnTo>
                <a:cubicBezTo>
                  <a:pt x="272627" y="161557"/>
                  <a:pt x="276233" y="160114"/>
                  <a:pt x="278757" y="157590"/>
                </a:cubicBezTo>
                <a:cubicBezTo>
                  <a:pt x="281282" y="155066"/>
                  <a:pt x="282724" y="151459"/>
                  <a:pt x="282724" y="147853"/>
                </a:cubicBezTo>
                <a:lnTo>
                  <a:pt x="282724" y="22358"/>
                </a:lnTo>
                <a:cubicBezTo>
                  <a:pt x="282724" y="18752"/>
                  <a:pt x="281282" y="15146"/>
                  <a:pt x="278757" y="12622"/>
                </a:cubicBezTo>
                <a:cubicBezTo>
                  <a:pt x="275872" y="10097"/>
                  <a:pt x="272627" y="8655"/>
                  <a:pt x="269021" y="8655"/>
                </a:cubicBezTo>
                <a:lnTo>
                  <a:pt x="90875" y="8655"/>
                </a:lnTo>
                <a:close/>
                <a:moveTo>
                  <a:pt x="90875" y="0"/>
                </a:moveTo>
                <a:lnTo>
                  <a:pt x="269021" y="0"/>
                </a:lnTo>
                <a:cubicBezTo>
                  <a:pt x="274791" y="0"/>
                  <a:pt x="280200" y="2164"/>
                  <a:pt x="284888" y="6130"/>
                </a:cubicBezTo>
                <a:cubicBezTo>
                  <a:pt x="289215" y="10458"/>
                  <a:pt x="291740" y="16588"/>
                  <a:pt x="291740" y="22358"/>
                </a:cubicBezTo>
                <a:lnTo>
                  <a:pt x="291740" y="147853"/>
                </a:lnTo>
                <a:cubicBezTo>
                  <a:pt x="291740" y="153984"/>
                  <a:pt x="289215" y="159754"/>
                  <a:pt x="284888" y="164081"/>
                </a:cubicBezTo>
                <a:cubicBezTo>
                  <a:pt x="280560" y="168048"/>
                  <a:pt x="274791" y="170572"/>
                  <a:pt x="269021" y="170572"/>
                </a:cubicBezTo>
                <a:lnTo>
                  <a:pt x="184276" y="170572"/>
                </a:lnTo>
                <a:lnTo>
                  <a:pt x="184276" y="287051"/>
                </a:lnTo>
                <a:cubicBezTo>
                  <a:pt x="184276" y="288855"/>
                  <a:pt x="183554" y="289936"/>
                  <a:pt x="182112" y="291018"/>
                </a:cubicBezTo>
                <a:cubicBezTo>
                  <a:pt x="181751" y="291379"/>
                  <a:pt x="180670" y="291739"/>
                  <a:pt x="179948" y="291739"/>
                </a:cubicBezTo>
                <a:cubicBezTo>
                  <a:pt x="179227" y="291739"/>
                  <a:pt x="178506" y="291379"/>
                  <a:pt x="177785" y="291018"/>
                </a:cubicBezTo>
                <a:lnTo>
                  <a:pt x="141723" y="270463"/>
                </a:lnTo>
                <a:cubicBezTo>
                  <a:pt x="133068" y="265775"/>
                  <a:pt x="123331" y="263251"/>
                  <a:pt x="113595" y="263251"/>
                </a:cubicBezTo>
                <a:lnTo>
                  <a:pt x="22719" y="263251"/>
                </a:lnTo>
                <a:cubicBezTo>
                  <a:pt x="10097" y="263251"/>
                  <a:pt x="0" y="252793"/>
                  <a:pt x="0" y="240532"/>
                </a:cubicBezTo>
                <a:lnTo>
                  <a:pt x="0" y="144968"/>
                </a:lnTo>
                <a:cubicBezTo>
                  <a:pt x="0" y="131986"/>
                  <a:pt x="10097" y="121889"/>
                  <a:pt x="22719" y="121889"/>
                </a:cubicBezTo>
                <a:lnTo>
                  <a:pt x="68156" y="121889"/>
                </a:lnTo>
                <a:lnTo>
                  <a:pt x="68156" y="22358"/>
                </a:lnTo>
                <a:cubicBezTo>
                  <a:pt x="68156" y="16588"/>
                  <a:pt x="71041" y="10458"/>
                  <a:pt x="75369" y="6130"/>
                </a:cubicBezTo>
                <a:cubicBezTo>
                  <a:pt x="79696" y="2164"/>
                  <a:pt x="85466" y="0"/>
                  <a:pt x="90875" y="0"/>
                </a:cubicBezTo>
                <a:close/>
              </a:path>
            </a:pathLst>
          </a:custGeom>
          <a:solidFill>
            <a:schemeClr val="bg1"/>
          </a:solidFill>
          <a:ln>
            <a:noFill/>
          </a:ln>
          <a:effectLst/>
        </p:spPr>
        <p:txBody>
          <a:bodyPr anchor="ctr"/>
          <a:lstStyle/>
          <a:p>
            <a:endParaRPr lang="en-GB" sz="567" dirty="0"/>
          </a:p>
        </p:txBody>
      </p:sp>
      <p:sp>
        <p:nvSpPr>
          <p:cNvPr id="31" name="TextBox 26">
            <a:extLst>
              <a:ext uri="{FF2B5EF4-FFF2-40B4-BE49-F238E27FC236}">
                <a16:creationId xmlns:a16="http://schemas.microsoft.com/office/drawing/2014/main" id="{2850A038-D12B-4DCE-A996-78602C02C579}"/>
              </a:ext>
            </a:extLst>
          </p:cNvPr>
          <p:cNvSpPr txBox="1"/>
          <p:nvPr/>
        </p:nvSpPr>
        <p:spPr>
          <a:xfrm>
            <a:off x="4471989" y="4118850"/>
            <a:ext cx="1417183" cy="338554"/>
          </a:xfrm>
          <a:prstGeom prst="rect">
            <a:avLst/>
          </a:prstGeom>
          <a:noFill/>
        </p:spPr>
        <p:txBody>
          <a:bodyPr wrap="none" lIns="91440" tIns="45720" rIns="91440" bIns="45720" rtlCol="0" anchor="b" anchorCtr="0">
            <a:spAutoFit/>
          </a:bodyPr>
          <a:lstStyle/>
          <a:p>
            <a:r>
              <a:rPr lang="en-GB" sz="1600" b="1" dirty="0">
                <a:solidFill>
                  <a:srgbClr val="0070C0"/>
                </a:solidFill>
                <a:latin typeface="+mj-lt"/>
                <a:ea typeface="League Spartan" charset="0"/>
                <a:cs typeface="Poppins" pitchFamily="2" charset="77"/>
              </a:rPr>
              <a:t>Payment Terms</a:t>
            </a:r>
          </a:p>
        </p:txBody>
      </p:sp>
      <p:sp>
        <p:nvSpPr>
          <p:cNvPr id="32" name="Subtitle 2">
            <a:extLst>
              <a:ext uri="{FF2B5EF4-FFF2-40B4-BE49-F238E27FC236}">
                <a16:creationId xmlns:a16="http://schemas.microsoft.com/office/drawing/2014/main" id="{1636C762-3BC1-413E-8E38-BA05983529EC}"/>
              </a:ext>
            </a:extLst>
          </p:cNvPr>
          <p:cNvSpPr txBox="1">
            <a:spLocks/>
          </p:cNvSpPr>
          <p:nvPr/>
        </p:nvSpPr>
        <p:spPr>
          <a:xfrm>
            <a:off x="3877448" y="4421606"/>
            <a:ext cx="2584545" cy="244760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ich conditions on which basis?</a:t>
            </a:r>
            <a:endParaRPr lang="en-US" sz="1600" dirty="0">
              <a:solidFill>
                <a:srgbClr val="245473"/>
              </a:solidFill>
            </a:endParaRP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o determines new condition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Amount of average payment term?</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Procedure with down payment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Which means of payment?</a:t>
            </a:r>
          </a:p>
        </p:txBody>
      </p:sp>
      <p:sp>
        <p:nvSpPr>
          <p:cNvPr id="33" name="TextBox 26">
            <a:extLst>
              <a:ext uri="{FF2B5EF4-FFF2-40B4-BE49-F238E27FC236}">
                <a16:creationId xmlns:a16="http://schemas.microsoft.com/office/drawing/2014/main" id="{255F3EF2-2B7B-41DC-9FD1-F9D24FAC8F1F}"/>
              </a:ext>
            </a:extLst>
          </p:cNvPr>
          <p:cNvSpPr txBox="1"/>
          <p:nvPr/>
        </p:nvSpPr>
        <p:spPr>
          <a:xfrm>
            <a:off x="7239686" y="3650357"/>
            <a:ext cx="936731" cy="523220"/>
          </a:xfrm>
          <a:prstGeom prst="rect">
            <a:avLst/>
          </a:prstGeom>
          <a:noFill/>
        </p:spPr>
        <p:txBody>
          <a:bodyPr wrap="none" rtlCol="0" anchor="b" anchorCtr="0">
            <a:spAutoFit/>
          </a:bodyPr>
          <a:lstStyle/>
          <a:p>
            <a:pPr algn="ctr"/>
            <a:r>
              <a:rPr lang="en-GB" sz="1400" b="1">
                <a:solidFill>
                  <a:schemeClr val="tx2"/>
                </a:solidFill>
                <a:latin typeface="+mj-lt"/>
                <a:ea typeface="League Spartan" charset="0"/>
                <a:cs typeface="Poppins" pitchFamily="2" charset="77"/>
              </a:rPr>
              <a:t>Accounts</a:t>
            </a:r>
            <a:br>
              <a:rPr lang="en-GB" sz="1400" b="1">
                <a:solidFill>
                  <a:schemeClr val="tx2"/>
                </a:solidFill>
                <a:latin typeface="+mj-lt"/>
                <a:ea typeface="League Spartan" charset="0"/>
                <a:cs typeface="Poppins" pitchFamily="2" charset="77"/>
              </a:rPr>
            </a:br>
            <a:r>
              <a:rPr lang="en-GB" sz="1400" b="1">
                <a:solidFill>
                  <a:schemeClr val="tx2"/>
                </a:solidFill>
                <a:latin typeface="+mj-lt"/>
                <a:ea typeface="League Spartan" charset="0"/>
                <a:cs typeface="Poppins" pitchFamily="2" charset="77"/>
              </a:rPr>
              <a:t>Receivable</a:t>
            </a:r>
            <a:endParaRPr lang="en-GB" sz="14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263933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30153" y="488250"/>
            <a:ext cx="8852375" cy="697353"/>
          </a:xfrm>
        </p:spPr>
        <p:txBody>
          <a:bodyPr>
            <a:normAutofit/>
          </a:bodyPr>
          <a:lstStyle/>
          <a:p>
            <a:r>
              <a:rPr lang="en-GB" dirty="0"/>
              <a:t>Working Capital Management (cont.)</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217862" y="2014639"/>
            <a:ext cx="2903993" cy="505296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payment of invoices at the right time can maintain liquidity in the company and increase interest income</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terms of payment are determined by the suppliers when the order is placed and only in a few cases is there room for manoeuvre for the client</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0" name="Freeform 1">
            <a:extLst>
              <a:ext uri="{FF2B5EF4-FFF2-40B4-BE49-F238E27FC236}">
                <a16:creationId xmlns:a16="http://schemas.microsoft.com/office/drawing/2014/main" id="{205EAD36-EE8A-4DBB-A341-9402EAD5F703}"/>
              </a:ext>
            </a:extLst>
          </p:cNvPr>
          <p:cNvSpPr>
            <a:spLocks noChangeArrowheads="1"/>
          </p:cNvSpPr>
          <p:nvPr/>
        </p:nvSpPr>
        <p:spPr bwMode="auto">
          <a:xfrm>
            <a:off x="4342789" y="5540292"/>
            <a:ext cx="402736" cy="231320"/>
          </a:xfrm>
          <a:custGeom>
            <a:avLst/>
            <a:gdLst>
              <a:gd name="T0" fmla="*/ 964 w 1928"/>
              <a:gd name="T1" fmla="*/ 1107 h 1108"/>
              <a:gd name="T2" fmla="*/ 964 w 1928"/>
              <a:gd name="T3" fmla="*/ 1107 h 1108"/>
              <a:gd name="T4" fmla="*/ 964 w 1928"/>
              <a:gd name="T5" fmla="*/ 1107 h 1108"/>
              <a:gd name="T6" fmla="*/ 0 w 1928"/>
              <a:gd name="T7" fmla="*/ 144 h 1108"/>
              <a:gd name="T8" fmla="*/ 0 w 1928"/>
              <a:gd name="T9" fmla="*/ 0 h 1108"/>
              <a:gd name="T10" fmla="*/ 1927 w 1928"/>
              <a:gd name="T11" fmla="*/ 0 h 1108"/>
              <a:gd name="T12" fmla="*/ 1927 w 1928"/>
              <a:gd name="T13" fmla="*/ 144 h 1108"/>
              <a:gd name="T14" fmla="*/ 1927 w 1928"/>
              <a:gd name="T15" fmla="*/ 144 h 1108"/>
              <a:gd name="T16" fmla="*/ 964 w 1928"/>
              <a:gd name="T17" fmla="*/ 1107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8" h="1108">
                <a:moveTo>
                  <a:pt x="964" y="1107"/>
                </a:moveTo>
                <a:lnTo>
                  <a:pt x="964" y="1107"/>
                </a:lnTo>
                <a:lnTo>
                  <a:pt x="964" y="1107"/>
                </a:lnTo>
                <a:cubicBezTo>
                  <a:pt x="432" y="1107"/>
                  <a:pt x="0" y="676"/>
                  <a:pt x="0" y="144"/>
                </a:cubicBezTo>
                <a:lnTo>
                  <a:pt x="0" y="0"/>
                </a:lnTo>
                <a:lnTo>
                  <a:pt x="1927" y="0"/>
                </a:lnTo>
                <a:lnTo>
                  <a:pt x="1927" y="144"/>
                </a:lnTo>
                <a:lnTo>
                  <a:pt x="1927" y="144"/>
                </a:lnTo>
                <a:cubicBezTo>
                  <a:pt x="1927" y="676"/>
                  <a:pt x="1496" y="1107"/>
                  <a:pt x="964" y="1107"/>
                </a:cubicBezTo>
              </a:path>
            </a:pathLst>
          </a:custGeom>
          <a:solidFill>
            <a:schemeClr val="accent6"/>
          </a:solidFill>
          <a:ln>
            <a:noFill/>
          </a:ln>
          <a:effectLst/>
        </p:spPr>
        <p:txBody>
          <a:bodyPr wrap="none" anchor="ctr"/>
          <a:lstStyle/>
          <a:p>
            <a:endParaRPr lang="en-GB" sz="1400" dirty="0">
              <a:latin typeface="+mj-lt"/>
            </a:endParaRPr>
          </a:p>
        </p:txBody>
      </p:sp>
      <p:sp>
        <p:nvSpPr>
          <p:cNvPr id="21" name="Freeform 2">
            <a:extLst>
              <a:ext uri="{FF2B5EF4-FFF2-40B4-BE49-F238E27FC236}">
                <a16:creationId xmlns:a16="http://schemas.microsoft.com/office/drawing/2014/main" id="{34D26748-3622-4481-A1D1-B0BFCDE6545B}"/>
              </a:ext>
            </a:extLst>
          </p:cNvPr>
          <p:cNvSpPr>
            <a:spLocks noChangeArrowheads="1"/>
          </p:cNvSpPr>
          <p:nvPr/>
        </p:nvSpPr>
        <p:spPr bwMode="auto">
          <a:xfrm>
            <a:off x="4090273" y="5324640"/>
            <a:ext cx="907769" cy="252517"/>
          </a:xfrm>
          <a:custGeom>
            <a:avLst/>
            <a:gdLst>
              <a:gd name="T0" fmla="*/ 3740 w 4344"/>
              <a:gd name="T1" fmla="*/ 1207 h 1208"/>
              <a:gd name="T2" fmla="*/ 604 w 4344"/>
              <a:gd name="T3" fmla="*/ 1207 h 1208"/>
              <a:gd name="T4" fmla="*/ 604 w 4344"/>
              <a:gd name="T5" fmla="*/ 1207 h 1208"/>
              <a:gd name="T6" fmla="*/ 0 w 4344"/>
              <a:gd name="T7" fmla="*/ 604 h 1208"/>
              <a:gd name="T8" fmla="*/ 0 w 4344"/>
              <a:gd name="T9" fmla="*/ 604 h 1208"/>
              <a:gd name="T10" fmla="*/ 604 w 4344"/>
              <a:gd name="T11" fmla="*/ 0 h 1208"/>
              <a:gd name="T12" fmla="*/ 3740 w 4344"/>
              <a:gd name="T13" fmla="*/ 0 h 1208"/>
              <a:gd name="T14" fmla="*/ 3740 w 4344"/>
              <a:gd name="T15" fmla="*/ 0 h 1208"/>
              <a:gd name="T16" fmla="*/ 4343 w 4344"/>
              <a:gd name="T17" fmla="*/ 604 h 1208"/>
              <a:gd name="T18" fmla="*/ 4343 w 4344"/>
              <a:gd name="T19" fmla="*/ 604 h 1208"/>
              <a:gd name="T20" fmla="*/ 3740 w 4344"/>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44" h="1208">
                <a:moveTo>
                  <a:pt x="3740" y="1207"/>
                </a:moveTo>
                <a:lnTo>
                  <a:pt x="604" y="1207"/>
                </a:lnTo>
                <a:lnTo>
                  <a:pt x="604" y="1207"/>
                </a:lnTo>
                <a:cubicBezTo>
                  <a:pt x="271" y="1207"/>
                  <a:pt x="0" y="937"/>
                  <a:pt x="0" y="604"/>
                </a:cubicBezTo>
                <a:lnTo>
                  <a:pt x="0" y="604"/>
                </a:lnTo>
                <a:cubicBezTo>
                  <a:pt x="0" y="271"/>
                  <a:pt x="271" y="0"/>
                  <a:pt x="604" y="0"/>
                </a:cubicBezTo>
                <a:lnTo>
                  <a:pt x="3740" y="0"/>
                </a:lnTo>
                <a:lnTo>
                  <a:pt x="3740" y="0"/>
                </a:lnTo>
                <a:cubicBezTo>
                  <a:pt x="4073" y="0"/>
                  <a:pt x="4343" y="271"/>
                  <a:pt x="4343" y="604"/>
                </a:cubicBezTo>
                <a:lnTo>
                  <a:pt x="4343" y="604"/>
                </a:lnTo>
                <a:cubicBezTo>
                  <a:pt x="4343" y="937"/>
                  <a:pt x="4073" y="1207"/>
                  <a:pt x="3740" y="1207"/>
                </a:cubicBezTo>
              </a:path>
            </a:pathLst>
          </a:custGeom>
          <a:solidFill>
            <a:schemeClr val="accent6"/>
          </a:solidFill>
          <a:ln>
            <a:noFill/>
          </a:ln>
          <a:effectLst/>
        </p:spPr>
        <p:txBody>
          <a:bodyPr wrap="none" anchor="ctr"/>
          <a:lstStyle/>
          <a:p>
            <a:endParaRPr lang="en-GB" sz="1400" dirty="0">
              <a:latin typeface="+mj-lt"/>
            </a:endParaRPr>
          </a:p>
        </p:txBody>
      </p:sp>
      <p:sp>
        <p:nvSpPr>
          <p:cNvPr id="34" name="Freeform 3">
            <a:extLst>
              <a:ext uri="{FF2B5EF4-FFF2-40B4-BE49-F238E27FC236}">
                <a16:creationId xmlns:a16="http://schemas.microsoft.com/office/drawing/2014/main" id="{0EC32AFF-E6A5-4CF4-892B-D537B77AF87F}"/>
              </a:ext>
            </a:extLst>
          </p:cNvPr>
          <p:cNvSpPr>
            <a:spLocks noChangeArrowheads="1"/>
          </p:cNvSpPr>
          <p:nvPr/>
        </p:nvSpPr>
        <p:spPr bwMode="auto">
          <a:xfrm>
            <a:off x="3995349" y="5198382"/>
            <a:ext cx="1099461" cy="252517"/>
          </a:xfrm>
          <a:custGeom>
            <a:avLst/>
            <a:gdLst>
              <a:gd name="T0" fmla="*/ 4655 w 5260"/>
              <a:gd name="T1" fmla="*/ 1207 h 1208"/>
              <a:gd name="T2" fmla="*/ 604 w 5260"/>
              <a:gd name="T3" fmla="*/ 1207 h 1208"/>
              <a:gd name="T4" fmla="*/ 604 w 5260"/>
              <a:gd name="T5" fmla="*/ 1207 h 1208"/>
              <a:gd name="T6" fmla="*/ 0 w 5260"/>
              <a:gd name="T7" fmla="*/ 603 h 1208"/>
              <a:gd name="T8" fmla="*/ 0 w 5260"/>
              <a:gd name="T9" fmla="*/ 603 h 1208"/>
              <a:gd name="T10" fmla="*/ 604 w 5260"/>
              <a:gd name="T11" fmla="*/ 0 h 1208"/>
              <a:gd name="T12" fmla="*/ 4655 w 5260"/>
              <a:gd name="T13" fmla="*/ 0 h 1208"/>
              <a:gd name="T14" fmla="*/ 4655 w 5260"/>
              <a:gd name="T15" fmla="*/ 0 h 1208"/>
              <a:gd name="T16" fmla="*/ 5259 w 5260"/>
              <a:gd name="T17" fmla="*/ 603 h 1208"/>
              <a:gd name="T18" fmla="*/ 5259 w 5260"/>
              <a:gd name="T19" fmla="*/ 603 h 1208"/>
              <a:gd name="T20" fmla="*/ 4655 w 5260"/>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60" h="1208">
                <a:moveTo>
                  <a:pt x="4655" y="1207"/>
                </a:moveTo>
                <a:lnTo>
                  <a:pt x="604" y="1207"/>
                </a:lnTo>
                <a:lnTo>
                  <a:pt x="604" y="1207"/>
                </a:lnTo>
                <a:cubicBezTo>
                  <a:pt x="271" y="1207"/>
                  <a:pt x="0" y="937"/>
                  <a:pt x="0" y="603"/>
                </a:cubicBezTo>
                <a:lnTo>
                  <a:pt x="0" y="603"/>
                </a:lnTo>
                <a:cubicBezTo>
                  <a:pt x="0" y="270"/>
                  <a:pt x="271" y="0"/>
                  <a:pt x="604" y="0"/>
                </a:cubicBezTo>
                <a:lnTo>
                  <a:pt x="4655" y="0"/>
                </a:lnTo>
                <a:lnTo>
                  <a:pt x="4655" y="0"/>
                </a:lnTo>
                <a:cubicBezTo>
                  <a:pt x="4988" y="0"/>
                  <a:pt x="5259" y="270"/>
                  <a:pt x="5259" y="603"/>
                </a:cubicBezTo>
                <a:lnTo>
                  <a:pt x="5259" y="603"/>
                </a:lnTo>
                <a:cubicBezTo>
                  <a:pt x="5259" y="937"/>
                  <a:pt x="4988" y="1207"/>
                  <a:pt x="4655" y="1207"/>
                </a:cubicBezTo>
              </a:path>
            </a:pathLst>
          </a:custGeom>
          <a:solidFill>
            <a:schemeClr val="accent6"/>
          </a:solidFill>
          <a:ln>
            <a:noFill/>
          </a:ln>
          <a:effectLst/>
        </p:spPr>
        <p:txBody>
          <a:bodyPr wrap="none" anchor="ctr"/>
          <a:lstStyle/>
          <a:p>
            <a:endParaRPr lang="en-GB" sz="1400" dirty="0">
              <a:latin typeface="+mj-lt"/>
            </a:endParaRPr>
          </a:p>
        </p:txBody>
      </p:sp>
      <p:sp>
        <p:nvSpPr>
          <p:cNvPr id="35" name="Freeform 4">
            <a:extLst>
              <a:ext uri="{FF2B5EF4-FFF2-40B4-BE49-F238E27FC236}">
                <a16:creationId xmlns:a16="http://schemas.microsoft.com/office/drawing/2014/main" id="{B8B5B43F-0617-42E1-BEB4-E17875F32546}"/>
              </a:ext>
            </a:extLst>
          </p:cNvPr>
          <p:cNvSpPr>
            <a:spLocks noChangeArrowheads="1"/>
          </p:cNvSpPr>
          <p:nvPr/>
        </p:nvSpPr>
        <p:spPr bwMode="auto">
          <a:xfrm>
            <a:off x="4516050" y="3045489"/>
            <a:ext cx="1122500" cy="973202"/>
          </a:xfrm>
          <a:custGeom>
            <a:avLst/>
            <a:gdLst>
              <a:gd name="T0" fmla="*/ 0 w 5078"/>
              <a:gd name="T1" fmla="*/ 4656 h 4657"/>
              <a:gd name="T2" fmla="*/ 0 w 5078"/>
              <a:gd name="T3" fmla="*/ 0 h 4657"/>
              <a:gd name="T4" fmla="*/ 5069 w 5078"/>
              <a:gd name="T5" fmla="*/ 0 h 4657"/>
              <a:gd name="T6" fmla="*/ 5069 w 5078"/>
              <a:gd name="T7" fmla="*/ 0 h 4657"/>
              <a:gd name="T8" fmla="*/ 5077 w 5078"/>
              <a:gd name="T9" fmla="*/ 293 h 4657"/>
              <a:gd name="T10" fmla="*/ 5077 w 5078"/>
              <a:gd name="T11" fmla="*/ 293 h 4657"/>
              <a:gd name="T12" fmla="*/ 4044 w 5078"/>
              <a:gd name="T13" fmla="*/ 3416 h 4657"/>
              <a:gd name="T14" fmla="*/ 4044 w 5078"/>
              <a:gd name="T15" fmla="*/ 3416 h 4657"/>
              <a:gd name="T16" fmla="*/ 3298 w 5078"/>
              <a:gd name="T17" fmla="*/ 4656 h 4657"/>
              <a:gd name="T18" fmla="*/ 0 w 5078"/>
              <a:gd name="T19" fmla="*/ 4656 h 4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8" h="4657">
                <a:moveTo>
                  <a:pt x="0" y="4656"/>
                </a:moveTo>
                <a:lnTo>
                  <a:pt x="0" y="0"/>
                </a:lnTo>
                <a:lnTo>
                  <a:pt x="5069" y="0"/>
                </a:lnTo>
                <a:lnTo>
                  <a:pt x="5069" y="0"/>
                </a:lnTo>
                <a:cubicBezTo>
                  <a:pt x="5075" y="99"/>
                  <a:pt x="5077" y="197"/>
                  <a:pt x="5077" y="293"/>
                </a:cubicBezTo>
                <a:lnTo>
                  <a:pt x="5077" y="293"/>
                </a:lnTo>
                <a:cubicBezTo>
                  <a:pt x="5077" y="1428"/>
                  <a:pt x="4720" y="2508"/>
                  <a:pt x="4044" y="3416"/>
                </a:cubicBezTo>
                <a:lnTo>
                  <a:pt x="4044" y="3416"/>
                </a:lnTo>
                <a:cubicBezTo>
                  <a:pt x="3755" y="3802"/>
                  <a:pt x="3505" y="4219"/>
                  <a:pt x="3298" y="4656"/>
                </a:cubicBezTo>
                <a:lnTo>
                  <a:pt x="0" y="4656"/>
                </a:lnTo>
              </a:path>
            </a:pathLst>
          </a:custGeom>
          <a:solidFill>
            <a:schemeClr val="accent4"/>
          </a:solidFill>
          <a:ln>
            <a:noFill/>
          </a:ln>
          <a:effectLst/>
        </p:spPr>
        <p:txBody>
          <a:bodyPr wrap="none" anchor="ctr"/>
          <a:lstStyle/>
          <a:p>
            <a:endParaRPr lang="en-GB" sz="1400" dirty="0">
              <a:latin typeface="+mj-lt"/>
            </a:endParaRPr>
          </a:p>
        </p:txBody>
      </p:sp>
      <p:sp>
        <p:nvSpPr>
          <p:cNvPr id="36" name="Freeform 5">
            <a:extLst>
              <a:ext uri="{FF2B5EF4-FFF2-40B4-BE49-F238E27FC236}">
                <a16:creationId xmlns:a16="http://schemas.microsoft.com/office/drawing/2014/main" id="{146EBBF6-A757-4610-B66C-76385450CECE}"/>
              </a:ext>
            </a:extLst>
          </p:cNvPr>
          <p:cNvSpPr>
            <a:spLocks noChangeArrowheads="1"/>
          </p:cNvSpPr>
          <p:nvPr/>
        </p:nvSpPr>
        <p:spPr bwMode="auto">
          <a:xfrm>
            <a:off x="4576874" y="2014226"/>
            <a:ext cx="1055224" cy="973202"/>
          </a:xfrm>
          <a:custGeom>
            <a:avLst/>
            <a:gdLst>
              <a:gd name="T0" fmla="*/ 0 w 5047"/>
              <a:gd name="T1" fmla="*/ 4654 h 4655"/>
              <a:gd name="T2" fmla="*/ 0 w 5047"/>
              <a:gd name="T3" fmla="*/ 0 h 4655"/>
              <a:gd name="T4" fmla="*/ 0 w 5047"/>
              <a:gd name="T5" fmla="*/ 0 h 4655"/>
              <a:gd name="T6" fmla="*/ 3407 w 5047"/>
              <a:gd name="T7" fmla="*/ 1397 h 4655"/>
              <a:gd name="T8" fmla="*/ 3407 w 5047"/>
              <a:gd name="T9" fmla="*/ 1397 h 4655"/>
              <a:gd name="T10" fmla="*/ 5046 w 5047"/>
              <a:gd name="T11" fmla="*/ 4654 h 4655"/>
              <a:gd name="T12" fmla="*/ 0 w 5047"/>
              <a:gd name="T13" fmla="*/ 4654 h 4655"/>
            </a:gdLst>
            <a:ahLst/>
            <a:cxnLst>
              <a:cxn ang="0">
                <a:pos x="T0" y="T1"/>
              </a:cxn>
              <a:cxn ang="0">
                <a:pos x="T2" y="T3"/>
              </a:cxn>
              <a:cxn ang="0">
                <a:pos x="T4" y="T5"/>
              </a:cxn>
              <a:cxn ang="0">
                <a:pos x="T6" y="T7"/>
              </a:cxn>
              <a:cxn ang="0">
                <a:pos x="T8" y="T9"/>
              </a:cxn>
              <a:cxn ang="0">
                <a:pos x="T10" y="T11"/>
              </a:cxn>
              <a:cxn ang="0">
                <a:pos x="T12" y="T13"/>
              </a:cxn>
            </a:cxnLst>
            <a:rect l="0" t="0" r="r" b="b"/>
            <a:pathLst>
              <a:path w="5047" h="4655">
                <a:moveTo>
                  <a:pt x="0" y="4654"/>
                </a:moveTo>
                <a:lnTo>
                  <a:pt x="0" y="0"/>
                </a:lnTo>
                <a:lnTo>
                  <a:pt x="0" y="0"/>
                </a:lnTo>
                <a:cubicBezTo>
                  <a:pt x="1271" y="37"/>
                  <a:pt x="2475" y="530"/>
                  <a:pt x="3407" y="1397"/>
                </a:cubicBezTo>
                <a:lnTo>
                  <a:pt x="3407" y="1397"/>
                </a:lnTo>
                <a:cubicBezTo>
                  <a:pt x="4331" y="2257"/>
                  <a:pt x="4909" y="3408"/>
                  <a:pt x="5046" y="4654"/>
                </a:cubicBezTo>
                <a:lnTo>
                  <a:pt x="0" y="4654"/>
                </a:lnTo>
              </a:path>
            </a:pathLst>
          </a:custGeom>
          <a:solidFill>
            <a:schemeClr val="accent2"/>
          </a:solidFill>
          <a:ln>
            <a:noFill/>
          </a:ln>
          <a:effectLst/>
        </p:spPr>
        <p:txBody>
          <a:bodyPr wrap="none" anchor="ctr"/>
          <a:lstStyle/>
          <a:p>
            <a:endParaRPr lang="en-GB" sz="1400" dirty="0">
              <a:latin typeface="+mj-lt"/>
            </a:endParaRPr>
          </a:p>
        </p:txBody>
      </p:sp>
      <p:sp>
        <p:nvSpPr>
          <p:cNvPr id="37" name="Freeform 6">
            <a:extLst>
              <a:ext uri="{FF2B5EF4-FFF2-40B4-BE49-F238E27FC236}">
                <a16:creationId xmlns:a16="http://schemas.microsoft.com/office/drawing/2014/main" id="{2494119B-69CC-4ADA-AEEA-555B2BD97C1A}"/>
              </a:ext>
            </a:extLst>
          </p:cNvPr>
          <p:cNvSpPr>
            <a:spLocks noChangeArrowheads="1"/>
          </p:cNvSpPr>
          <p:nvPr/>
        </p:nvSpPr>
        <p:spPr bwMode="auto">
          <a:xfrm>
            <a:off x="3855266" y="4084125"/>
            <a:ext cx="1381468" cy="949241"/>
          </a:xfrm>
          <a:custGeom>
            <a:avLst/>
            <a:gdLst>
              <a:gd name="T0" fmla="*/ 1335 w 6611"/>
              <a:gd name="T1" fmla="*/ 4541 h 4542"/>
              <a:gd name="T2" fmla="*/ 1335 w 6611"/>
              <a:gd name="T3" fmla="*/ 4541 h 4542"/>
              <a:gd name="T4" fmla="*/ 557 w 6611"/>
              <a:gd name="T5" fmla="*/ 3763 h 4542"/>
              <a:gd name="T6" fmla="*/ 557 w 6611"/>
              <a:gd name="T7" fmla="*/ 2782 h 4542"/>
              <a:gd name="T8" fmla="*/ 557 w 6611"/>
              <a:gd name="T9" fmla="*/ 2782 h 4542"/>
              <a:gd name="T10" fmla="*/ 0 w 6611"/>
              <a:gd name="T11" fmla="*/ 0 h 4542"/>
              <a:gd name="T12" fmla="*/ 6610 w 6611"/>
              <a:gd name="T13" fmla="*/ 0 h 4542"/>
              <a:gd name="T14" fmla="*/ 6610 w 6611"/>
              <a:gd name="T15" fmla="*/ 0 h 4542"/>
              <a:gd name="T16" fmla="*/ 6052 w 6611"/>
              <a:gd name="T17" fmla="*/ 2782 h 4542"/>
              <a:gd name="T18" fmla="*/ 6052 w 6611"/>
              <a:gd name="T19" fmla="*/ 3763 h 4542"/>
              <a:gd name="T20" fmla="*/ 6052 w 6611"/>
              <a:gd name="T21" fmla="*/ 3763 h 4542"/>
              <a:gd name="T22" fmla="*/ 5274 w 6611"/>
              <a:gd name="T23" fmla="*/ 4541 h 4542"/>
              <a:gd name="T24" fmla="*/ 1335 w 6611"/>
              <a:gd name="T25" fmla="*/ 4541 h 4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11" h="4542">
                <a:moveTo>
                  <a:pt x="1335" y="4541"/>
                </a:moveTo>
                <a:lnTo>
                  <a:pt x="1335" y="4541"/>
                </a:lnTo>
                <a:cubicBezTo>
                  <a:pt x="906" y="4541"/>
                  <a:pt x="557" y="4192"/>
                  <a:pt x="557" y="3763"/>
                </a:cubicBezTo>
                <a:lnTo>
                  <a:pt x="557" y="2782"/>
                </a:lnTo>
                <a:lnTo>
                  <a:pt x="557" y="2782"/>
                </a:lnTo>
                <a:cubicBezTo>
                  <a:pt x="557" y="1821"/>
                  <a:pt x="370" y="886"/>
                  <a:pt x="0" y="0"/>
                </a:cubicBezTo>
                <a:lnTo>
                  <a:pt x="6610" y="0"/>
                </a:lnTo>
                <a:lnTo>
                  <a:pt x="6610" y="0"/>
                </a:lnTo>
                <a:cubicBezTo>
                  <a:pt x="6240" y="886"/>
                  <a:pt x="6052" y="1821"/>
                  <a:pt x="6052" y="2782"/>
                </a:cubicBezTo>
                <a:lnTo>
                  <a:pt x="6052" y="3763"/>
                </a:lnTo>
                <a:lnTo>
                  <a:pt x="6052" y="3763"/>
                </a:lnTo>
                <a:cubicBezTo>
                  <a:pt x="6052" y="4192"/>
                  <a:pt x="5704" y="4541"/>
                  <a:pt x="5274" y="4541"/>
                </a:cubicBezTo>
                <a:lnTo>
                  <a:pt x="1335" y="4541"/>
                </a:lnTo>
              </a:path>
            </a:pathLst>
          </a:custGeom>
          <a:solidFill>
            <a:schemeClr val="accent5"/>
          </a:solidFill>
          <a:ln>
            <a:noFill/>
          </a:ln>
          <a:effectLst/>
        </p:spPr>
        <p:txBody>
          <a:bodyPr wrap="none" anchor="ctr"/>
          <a:lstStyle/>
          <a:p>
            <a:endParaRPr lang="en-GB" sz="1400" dirty="0">
              <a:latin typeface="+mj-lt"/>
            </a:endParaRPr>
          </a:p>
        </p:txBody>
      </p:sp>
      <p:sp>
        <p:nvSpPr>
          <p:cNvPr id="38" name="Freeform 7">
            <a:extLst>
              <a:ext uri="{FF2B5EF4-FFF2-40B4-BE49-F238E27FC236}">
                <a16:creationId xmlns:a16="http://schemas.microsoft.com/office/drawing/2014/main" id="{69632CED-C67B-4A38-8593-58DD68B0B0BA}"/>
              </a:ext>
            </a:extLst>
          </p:cNvPr>
          <p:cNvSpPr>
            <a:spLocks noChangeArrowheads="1"/>
          </p:cNvSpPr>
          <p:nvPr/>
        </p:nvSpPr>
        <p:spPr bwMode="auto">
          <a:xfrm>
            <a:off x="3454374" y="3045489"/>
            <a:ext cx="1061675" cy="973202"/>
          </a:xfrm>
          <a:custGeom>
            <a:avLst/>
            <a:gdLst>
              <a:gd name="T0" fmla="*/ 1779 w 5078"/>
              <a:gd name="T1" fmla="*/ 4656 h 4657"/>
              <a:gd name="T2" fmla="*/ 1779 w 5078"/>
              <a:gd name="T3" fmla="*/ 4656 h 4657"/>
              <a:gd name="T4" fmla="*/ 1034 w 5078"/>
              <a:gd name="T5" fmla="*/ 3416 h 4657"/>
              <a:gd name="T6" fmla="*/ 1034 w 5078"/>
              <a:gd name="T7" fmla="*/ 3416 h 4657"/>
              <a:gd name="T8" fmla="*/ 0 w 5078"/>
              <a:gd name="T9" fmla="*/ 293 h 4657"/>
              <a:gd name="T10" fmla="*/ 0 w 5078"/>
              <a:gd name="T11" fmla="*/ 293 h 4657"/>
              <a:gd name="T12" fmla="*/ 8 w 5078"/>
              <a:gd name="T13" fmla="*/ 0 h 4657"/>
              <a:gd name="T14" fmla="*/ 5077 w 5078"/>
              <a:gd name="T15" fmla="*/ 0 h 4657"/>
              <a:gd name="T16" fmla="*/ 5077 w 5078"/>
              <a:gd name="T17" fmla="*/ 4656 h 4657"/>
              <a:gd name="T18" fmla="*/ 1779 w 5078"/>
              <a:gd name="T19" fmla="*/ 4656 h 4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8" h="4657">
                <a:moveTo>
                  <a:pt x="1779" y="4656"/>
                </a:moveTo>
                <a:lnTo>
                  <a:pt x="1779" y="4656"/>
                </a:lnTo>
                <a:cubicBezTo>
                  <a:pt x="1572" y="4219"/>
                  <a:pt x="1322" y="3802"/>
                  <a:pt x="1034" y="3416"/>
                </a:cubicBezTo>
                <a:lnTo>
                  <a:pt x="1034" y="3416"/>
                </a:lnTo>
                <a:cubicBezTo>
                  <a:pt x="357" y="2508"/>
                  <a:pt x="0" y="1428"/>
                  <a:pt x="0" y="293"/>
                </a:cubicBezTo>
                <a:lnTo>
                  <a:pt x="0" y="293"/>
                </a:lnTo>
                <a:cubicBezTo>
                  <a:pt x="0" y="197"/>
                  <a:pt x="3" y="99"/>
                  <a:pt x="8" y="0"/>
                </a:cubicBezTo>
                <a:lnTo>
                  <a:pt x="5077" y="0"/>
                </a:lnTo>
                <a:lnTo>
                  <a:pt x="5077" y="4656"/>
                </a:lnTo>
                <a:lnTo>
                  <a:pt x="1779" y="4656"/>
                </a:lnTo>
              </a:path>
            </a:pathLst>
          </a:custGeom>
          <a:solidFill>
            <a:schemeClr val="accent4"/>
          </a:solidFill>
          <a:ln>
            <a:noFill/>
          </a:ln>
          <a:effectLst/>
        </p:spPr>
        <p:txBody>
          <a:bodyPr wrap="none" anchor="ctr"/>
          <a:lstStyle/>
          <a:p>
            <a:endParaRPr lang="en-GB" sz="1400" dirty="0">
              <a:latin typeface="+mj-lt"/>
            </a:endParaRPr>
          </a:p>
        </p:txBody>
      </p:sp>
      <p:sp>
        <p:nvSpPr>
          <p:cNvPr id="39" name="Freeform 8">
            <a:extLst>
              <a:ext uri="{FF2B5EF4-FFF2-40B4-BE49-F238E27FC236}">
                <a16:creationId xmlns:a16="http://schemas.microsoft.com/office/drawing/2014/main" id="{19E1E6F1-498D-4E18-9FB4-86548DC9B3EA}"/>
              </a:ext>
            </a:extLst>
          </p:cNvPr>
          <p:cNvSpPr>
            <a:spLocks noChangeArrowheads="1"/>
          </p:cNvSpPr>
          <p:nvPr/>
        </p:nvSpPr>
        <p:spPr bwMode="auto">
          <a:xfrm>
            <a:off x="3460824" y="2014226"/>
            <a:ext cx="1055224" cy="973202"/>
          </a:xfrm>
          <a:custGeom>
            <a:avLst/>
            <a:gdLst>
              <a:gd name="T0" fmla="*/ 0 w 5047"/>
              <a:gd name="T1" fmla="*/ 4654 h 4655"/>
              <a:gd name="T2" fmla="*/ 0 w 5047"/>
              <a:gd name="T3" fmla="*/ 4654 h 4655"/>
              <a:gd name="T4" fmla="*/ 1639 w 5047"/>
              <a:gd name="T5" fmla="*/ 1397 h 4655"/>
              <a:gd name="T6" fmla="*/ 1639 w 5047"/>
              <a:gd name="T7" fmla="*/ 1397 h 4655"/>
              <a:gd name="T8" fmla="*/ 5046 w 5047"/>
              <a:gd name="T9" fmla="*/ 0 h 4655"/>
              <a:gd name="T10" fmla="*/ 5046 w 5047"/>
              <a:gd name="T11" fmla="*/ 4654 h 4655"/>
              <a:gd name="T12" fmla="*/ 0 w 5047"/>
              <a:gd name="T13" fmla="*/ 4654 h 4655"/>
            </a:gdLst>
            <a:ahLst/>
            <a:cxnLst>
              <a:cxn ang="0">
                <a:pos x="T0" y="T1"/>
              </a:cxn>
              <a:cxn ang="0">
                <a:pos x="T2" y="T3"/>
              </a:cxn>
              <a:cxn ang="0">
                <a:pos x="T4" y="T5"/>
              </a:cxn>
              <a:cxn ang="0">
                <a:pos x="T6" y="T7"/>
              </a:cxn>
              <a:cxn ang="0">
                <a:pos x="T8" y="T9"/>
              </a:cxn>
              <a:cxn ang="0">
                <a:pos x="T10" y="T11"/>
              </a:cxn>
              <a:cxn ang="0">
                <a:pos x="T12" y="T13"/>
              </a:cxn>
            </a:cxnLst>
            <a:rect l="0" t="0" r="r" b="b"/>
            <a:pathLst>
              <a:path w="5047" h="4655">
                <a:moveTo>
                  <a:pt x="0" y="4654"/>
                </a:moveTo>
                <a:lnTo>
                  <a:pt x="0" y="4654"/>
                </a:lnTo>
                <a:cubicBezTo>
                  <a:pt x="137" y="3408"/>
                  <a:pt x="715" y="2257"/>
                  <a:pt x="1639" y="1397"/>
                </a:cubicBezTo>
                <a:lnTo>
                  <a:pt x="1639" y="1397"/>
                </a:lnTo>
                <a:cubicBezTo>
                  <a:pt x="2572" y="530"/>
                  <a:pt x="3777" y="37"/>
                  <a:pt x="5046" y="0"/>
                </a:cubicBezTo>
                <a:lnTo>
                  <a:pt x="5046" y="4654"/>
                </a:lnTo>
                <a:lnTo>
                  <a:pt x="0" y="4654"/>
                </a:lnTo>
              </a:path>
            </a:pathLst>
          </a:custGeom>
          <a:solidFill>
            <a:schemeClr val="accent1"/>
          </a:solidFill>
          <a:ln>
            <a:noFill/>
          </a:ln>
          <a:effectLst/>
        </p:spPr>
        <p:txBody>
          <a:bodyPr wrap="none" anchor="ctr"/>
          <a:lstStyle/>
          <a:p>
            <a:endParaRPr lang="en-GB" sz="1400" dirty="0">
              <a:latin typeface="+mj-lt"/>
            </a:endParaRPr>
          </a:p>
        </p:txBody>
      </p:sp>
      <p:sp>
        <p:nvSpPr>
          <p:cNvPr id="40" name="Freeform 9">
            <a:extLst>
              <a:ext uri="{FF2B5EF4-FFF2-40B4-BE49-F238E27FC236}">
                <a16:creationId xmlns:a16="http://schemas.microsoft.com/office/drawing/2014/main" id="{5683CEAA-FAB1-4F8C-B512-E5A981791300}"/>
              </a:ext>
            </a:extLst>
          </p:cNvPr>
          <p:cNvSpPr>
            <a:spLocks noChangeArrowheads="1"/>
          </p:cNvSpPr>
          <p:nvPr/>
        </p:nvSpPr>
        <p:spPr bwMode="auto">
          <a:xfrm>
            <a:off x="3899503" y="5072124"/>
            <a:ext cx="1290230" cy="252517"/>
          </a:xfrm>
          <a:custGeom>
            <a:avLst/>
            <a:gdLst>
              <a:gd name="T0" fmla="*/ 5570 w 6174"/>
              <a:gd name="T1" fmla="*/ 1207 h 1208"/>
              <a:gd name="T2" fmla="*/ 604 w 6174"/>
              <a:gd name="T3" fmla="*/ 1207 h 1208"/>
              <a:gd name="T4" fmla="*/ 604 w 6174"/>
              <a:gd name="T5" fmla="*/ 1207 h 1208"/>
              <a:gd name="T6" fmla="*/ 0 w 6174"/>
              <a:gd name="T7" fmla="*/ 604 h 1208"/>
              <a:gd name="T8" fmla="*/ 0 w 6174"/>
              <a:gd name="T9" fmla="*/ 604 h 1208"/>
              <a:gd name="T10" fmla="*/ 604 w 6174"/>
              <a:gd name="T11" fmla="*/ 0 h 1208"/>
              <a:gd name="T12" fmla="*/ 5570 w 6174"/>
              <a:gd name="T13" fmla="*/ 0 h 1208"/>
              <a:gd name="T14" fmla="*/ 5570 w 6174"/>
              <a:gd name="T15" fmla="*/ 0 h 1208"/>
              <a:gd name="T16" fmla="*/ 6173 w 6174"/>
              <a:gd name="T17" fmla="*/ 604 h 1208"/>
              <a:gd name="T18" fmla="*/ 6173 w 6174"/>
              <a:gd name="T19" fmla="*/ 604 h 1208"/>
              <a:gd name="T20" fmla="*/ 5570 w 6174"/>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74" h="1208">
                <a:moveTo>
                  <a:pt x="5570" y="1207"/>
                </a:moveTo>
                <a:lnTo>
                  <a:pt x="604" y="1207"/>
                </a:lnTo>
                <a:lnTo>
                  <a:pt x="604" y="1207"/>
                </a:lnTo>
                <a:cubicBezTo>
                  <a:pt x="270" y="1207"/>
                  <a:pt x="0" y="937"/>
                  <a:pt x="0" y="604"/>
                </a:cubicBezTo>
                <a:lnTo>
                  <a:pt x="0" y="604"/>
                </a:lnTo>
                <a:cubicBezTo>
                  <a:pt x="0" y="270"/>
                  <a:pt x="270" y="0"/>
                  <a:pt x="604" y="0"/>
                </a:cubicBezTo>
                <a:lnTo>
                  <a:pt x="5570" y="0"/>
                </a:lnTo>
                <a:lnTo>
                  <a:pt x="5570" y="0"/>
                </a:lnTo>
                <a:cubicBezTo>
                  <a:pt x="5903" y="0"/>
                  <a:pt x="6173" y="270"/>
                  <a:pt x="6173" y="604"/>
                </a:cubicBezTo>
                <a:lnTo>
                  <a:pt x="6173" y="604"/>
                </a:lnTo>
                <a:cubicBezTo>
                  <a:pt x="6173" y="937"/>
                  <a:pt x="5903" y="1207"/>
                  <a:pt x="5570" y="1207"/>
                </a:cubicBezTo>
              </a:path>
            </a:pathLst>
          </a:custGeom>
          <a:solidFill>
            <a:schemeClr val="accent6"/>
          </a:solidFill>
          <a:ln>
            <a:noFill/>
          </a:ln>
          <a:effectLst/>
        </p:spPr>
        <p:txBody>
          <a:bodyPr wrap="none" anchor="ctr"/>
          <a:lstStyle/>
          <a:p>
            <a:endParaRPr lang="en-GB" sz="1400" dirty="0">
              <a:latin typeface="+mj-lt"/>
            </a:endParaRPr>
          </a:p>
        </p:txBody>
      </p:sp>
      <p:sp>
        <p:nvSpPr>
          <p:cNvPr id="41" name="Freeform 10">
            <a:extLst>
              <a:ext uri="{FF2B5EF4-FFF2-40B4-BE49-F238E27FC236}">
                <a16:creationId xmlns:a16="http://schemas.microsoft.com/office/drawing/2014/main" id="{2B8950BD-8CD4-4A3B-AA31-D3631C3DE13F}"/>
              </a:ext>
            </a:extLst>
          </p:cNvPr>
          <p:cNvSpPr>
            <a:spLocks noChangeArrowheads="1"/>
          </p:cNvSpPr>
          <p:nvPr/>
        </p:nvSpPr>
        <p:spPr bwMode="auto">
          <a:xfrm>
            <a:off x="4345554" y="2245546"/>
            <a:ext cx="398128" cy="399050"/>
          </a:xfrm>
          <a:custGeom>
            <a:avLst/>
            <a:gdLst>
              <a:gd name="T0" fmla="*/ 1906 w 1907"/>
              <a:gd name="T1" fmla="*/ 954 h 1908"/>
              <a:gd name="T2" fmla="*/ 1906 w 1907"/>
              <a:gd name="T3" fmla="*/ 954 h 1908"/>
              <a:gd name="T4" fmla="*/ 953 w 1907"/>
              <a:gd name="T5" fmla="*/ 1907 h 1908"/>
              <a:gd name="T6" fmla="*/ 953 w 1907"/>
              <a:gd name="T7" fmla="*/ 1907 h 1908"/>
              <a:gd name="T8" fmla="*/ 0 w 1907"/>
              <a:gd name="T9" fmla="*/ 954 h 1908"/>
              <a:gd name="T10" fmla="*/ 0 w 1907"/>
              <a:gd name="T11" fmla="*/ 954 h 1908"/>
              <a:gd name="T12" fmla="*/ 953 w 1907"/>
              <a:gd name="T13" fmla="*/ 0 h 1908"/>
              <a:gd name="T14" fmla="*/ 953 w 1907"/>
              <a:gd name="T15" fmla="*/ 0 h 1908"/>
              <a:gd name="T16" fmla="*/ 1906 w 1907"/>
              <a:gd name="T17" fmla="*/ 954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7" h="1908">
                <a:moveTo>
                  <a:pt x="1906" y="954"/>
                </a:moveTo>
                <a:lnTo>
                  <a:pt x="1906" y="954"/>
                </a:lnTo>
                <a:cubicBezTo>
                  <a:pt x="1906" y="1480"/>
                  <a:pt x="1479" y="1907"/>
                  <a:pt x="953" y="1907"/>
                </a:cubicBezTo>
                <a:lnTo>
                  <a:pt x="953" y="1907"/>
                </a:lnTo>
                <a:cubicBezTo>
                  <a:pt x="427" y="1907"/>
                  <a:pt x="0" y="1480"/>
                  <a:pt x="0" y="954"/>
                </a:cubicBezTo>
                <a:lnTo>
                  <a:pt x="0" y="954"/>
                </a:lnTo>
                <a:cubicBezTo>
                  <a:pt x="0" y="427"/>
                  <a:pt x="427" y="0"/>
                  <a:pt x="953" y="0"/>
                </a:cubicBezTo>
                <a:lnTo>
                  <a:pt x="953" y="0"/>
                </a:lnTo>
                <a:cubicBezTo>
                  <a:pt x="1479" y="0"/>
                  <a:pt x="1906" y="427"/>
                  <a:pt x="1906" y="954"/>
                </a:cubicBezTo>
              </a:path>
            </a:pathLst>
          </a:custGeom>
          <a:solidFill>
            <a:schemeClr val="accent1"/>
          </a:solidFill>
          <a:ln>
            <a:noFill/>
          </a:ln>
          <a:effectLst/>
        </p:spPr>
        <p:txBody>
          <a:bodyPr wrap="none" anchor="ctr"/>
          <a:lstStyle/>
          <a:p>
            <a:endParaRPr lang="en-GB" sz="1400" dirty="0">
              <a:latin typeface="+mj-lt"/>
            </a:endParaRPr>
          </a:p>
        </p:txBody>
      </p:sp>
      <p:sp>
        <p:nvSpPr>
          <p:cNvPr id="42" name="Freeform 11">
            <a:extLst>
              <a:ext uri="{FF2B5EF4-FFF2-40B4-BE49-F238E27FC236}">
                <a16:creationId xmlns:a16="http://schemas.microsoft.com/office/drawing/2014/main" id="{740AC6C5-9A29-49B2-AAD9-E4AD2A7454CD}"/>
              </a:ext>
            </a:extLst>
          </p:cNvPr>
          <p:cNvSpPr>
            <a:spLocks noChangeArrowheads="1"/>
          </p:cNvSpPr>
          <p:nvPr/>
        </p:nvSpPr>
        <p:spPr bwMode="auto">
          <a:xfrm>
            <a:off x="4894823" y="2814169"/>
            <a:ext cx="399050" cy="399050"/>
          </a:xfrm>
          <a:custGeom>
            <a:avLst/>
            <a:gdLst>
              <a:gd name="T0" fmla="*/ 1908 w 1909"/>
              <a:gd name="T1" fmla="*/ 953 h 1908"/>
              <a:gd name="T2" fmla="*/ 1908 w 1909"/>
              <a:gd name="T3" fmla="*/ 953 h 1908"/>
              <a:gd name="T4" fmla="*/ 954 w 1909"/>
              <a:gd name="T5" fmla="*/ 1907 h 1908"/>
              <a:gd name="T6" fmla="*/ 954 w 1909"/>
              <a:gd name="T7" fmla="*/ 1907 h 1908"/>
              <a:gd name="T8" fmla="*/ 0 w 1909"/>
              <a:gd name="T9" fmla="*/ 953 h 1908"/>
              <a:gd name="T10" fmla="*/ 0 w 1909"/>
              <a:gd name="T11" fmla="*/ 953 h 1908"/>
              <a:gd name="T12" fmla="*/ 954 w 1909"/>
              <a:gd name="T13" fmla="*/ 0 h 1908"/>
              <a:gd name="T14" fmla="*/ 954 w 1909"/>
              <a:gd name="T15" fmla="*/ 0 h 1908"/>
              <a:gd name="T16" fmla="*/ 1908 w 1909"/>
              <a:gd name="T17" fmla="*/ 95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9" h="1908">
                <a:moveTo>
                  <a:pt x="1908" y="953"/>
                </a:moveTo>
                <a:lnTo>
                  <a:pt x="1908" y="953"/>
                </a:lnTo>
                <a:cubicBezTo>
                  <a:pt x="1908" y="1480"/>
                  <a:pt x="1481" y="1907"/>
                  <a:pt x="954" y="1907"/>
                </a:cubicBezTo>
                <a:lnTo>
                  <a:pt x="954" y="1907"/>
                </a:lnTo>
                <a:cubicBezTo>
                  <a:pt x="427" y="1907"/>
                  <a:pt x="0" y="1480"/>
                  <a:pt x="0" y="953"/>
                </a:cubicBezTo>
                <a:lnTo>
                  <a:pt x="0" y="953"/>
                </a:lnTo>
                <a:cubicBezTo>
                  <a:pt x="0" y="427"/>
                  <a:pt x="427" y="0"/>
                  <a:pt x="954" y="0"/>
                </a:cubicBezTo>
                <a:lnTo>
                  <a:pt x="954" y="0"/>
                </a:lnTo>
                <a:cubicBezTo>
                  <a:pt x="1481" y="0"/>
                  <a:pt x="1908" y="427"/>
                  <a:pt x="1908" y="953"/>
                </a:cubicBezTo>
              </a:path>
            </a:pathLst>
          </a:custGeom>
          <a:solidFill>
            <a:schemeClr val="accent2"/>
          </a:solidFill>
          <a:ln>
            <a:noFill/>
          </a:ln>
          <a:effectLst/>
        </p:spPr>
        <p:txBody>
          <a:bodyPr wrap="none" anchor="ctr"/>
          <a:lstStyle/>
          <a:p>
            <a:endParaRPr lang="en-GB" sz="1400" dirty="0">
              <a:latin typeface="+mj-lt"/>
            </a:endParaRPr>
          </a:p>
        </p:txBody>
      </p:sp>
      <p:sp>
        <p:nvSpPr>
          <p:cNvPr id="43" name="Freeform 13">
            <a:extLst>
              <a:ext uri="{FF2B5EF4-FFF2-40B4-BE49-F238E27FC236}">
                <a16:creationId xmlns:a16="http://schemas.microsoft.com/office/drawing/2014/main" id="{F3D44DE4-9F0C-4F5A-946D-0AED97C560C4}"/>
              </a:ext>
            </a:extLst>
          </p:cNvPr>
          <p:cNvSpPr>
            <a:spLocks noChangeArrowheads="1"/>
          </p:cNvSpPr>
          <p:nvPr/>
        </p:nvSpPr>
        <p:spPr bwMode="auto">
          <a:xfrm>
            <a:off x="4775016" y="3851882"/>
            <a:ext cx="399050" cy="399050"/>
          </a:xfrm>
          <a:custGeom>
            <a:avLst/>
            <a:gdLst>
              <a:gd name="T0" fmla="*/ 1908 w 1909"/>
              <a:gd name="T1" fmla="*/ 954 h 1909"/>
              <a:gd name="T2" fmla="*/ 1908 w 1909"/>
              <a:gd name="T3" fmla="*/ 954 h 1909"/>
              <a:gd name="T4" fmla="*/ 954 w 1909"/>
              <a:gd name="T5" fmla="*/ 1908 h 1909"/>
              <a:gd name="T6" fmla="*/ 954 w 1909"/>
              <a:gd name="T7" fmla="*/ 1908 h 1909"/>
              <a:gd name="T8" fmla="*/ 0 w 1909"/>
              <a:gd name="T9" fmla="*/ 954 h 1909"/>
              <a:gd name="T10" fmla="*/ 0 w 1909"/>
              <a:gd name="T11" fmla="*/ 954 h 1909"/>
              <a:gd name="T12" fmla="*/ 954 w 1909"/>
              <a:gd name="T13" fmla="*/ 0 h 1909"/>
              <a:gd name="T14" fmla="*/ 954 w 1909"/>
              <a:gd name="T15" fmla="*/ 0 h 1909"/>
              <a:gd name="T16" fmla="*/ 1908 w 1909"/>
              <a:gd name="T17" fmla="*/ 954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9" h="1909">
                <a:moveTo>
                  <a:pt x="1908" y="954"/>
                </a:moveTo>
                <a:lnTo>
                  <a:pt x="1908" y="954"/>
                </a:lnTo>
                <a:cubicBezTo>
                  <a:pt x="1908" y="1481"/>
                  <a:pt x="1481" y="1908"/>
                  <a:pt x="954" y="1908"/>
                </a:cubicBezTo>
                <a:lnTo>
                  <a:pt x="954" y="1908"/>
                </a:lnTo>
                <a:cubicBezTo>
                  <a:pt x="427" y="1908"/>
                  <a:pt x="0" y="1481"/>
                  <a:pt x="0" y="954"/>
                </a:cubicBezTo>
                <a:lnTo>
                  <a:pt x="0" y="954"/>
                </a:lnTo>
                <a:cubicBezTo>
                  <a:pt x="0" y="427"/>
                  <a:pt x="427" y="0"/>
                  <a:pt x="954" y="0"/>
                </a:cubicBezTo>
                <a:lnTo>
                  <a:pt x="954" y="0"/>
                </a:lnTo>
                <a:cubicBezTo>
                  <a:pt x="1481" y="0"/>
                  <a:pt x="1908" y="427"/>
                  <a:pt x="1908" y="954"/>
                </a:cubicBezTo>
              </a:path>
            </a:pathLst>
          </a:custGeom>
          <a:solidFill>
            <a:schemeClr val="accent3"/>
          </a:solidFill>
          <a:ln>
            <a:noFill/>
          </a:ln>
          <a:effectLst/>
        </p:spPr>
        <p:txBody>
          <a:bodyPr wrap="none" anchor="ctr"/>
          <a:lstStyle/>
          <a:p>
            <a:endParaRPr lang="en-GB" sz="1400" dirty="0">
              <a:latin typeface="+mj-lt"/>
            </a:endParaRPr>
          </a:p>
        </p:txBody>
      </p:sp>
      <p:sp>
        <p:nvSpPr>
          <p:cNvPr id="44" name="Freeform 14">
            <a:extLst>
              <a:ext uri="{FF2B5EF4-FFF2-40B4-BE49-F238E27FC236}">
                <a16:creationId xmlns:a16="http://schemas.microsoft.com/office/drawing/2014/main" id="{A95001C3-392A-414E-B709-DA14F88EF54C}"/>
              </a:ext>
            </a:extLst>
          </p:cNvPr>
          <p:cNvSpPr>
            <a:spLocks noChangeArrowheads="1"/>
          </p:cNvSpPr>
          <p:nvPr/>
        </p:nvSpPr>
        <p:spPr bwMode="auto">
          <a:xfrm>
            <a:off x="3968622" y="3851882"/>
            <a:ext cx="399050" cy="399050"/>
          </a:xfrm>
          <a:custGeom>
            <a:avLst/>
            <a:gdLst>
              <a:gd name="T0" fmla="*/ 1908 w 1909"/>
              <a:gd name="T1" fmla="*/ 954 h 1909"/>
              <a:gd name="T2" fmla="*/ 1908 w 1909"/>
              <a:gd name="T3" fmla="*/ 954 h 1909"/>
              <a:gd name="T4" fmla="*/ 954 w 1909"/>
              <a:gd name="T5" fmla="*/ 1908 h 1909"/>
              <a:gd name="T6" fmla="*/ 954 w 1909"/>
              <a:gd name="T7" fmla="*/ 1908 h 1909"/>
              <a:gd name="T8" fmla="*/ 0 w 1909"/>
              <a:gd name="T9" fmla="*/ 954 h 1909"/>
              <a:gd name="T10" fmla="*/ 0 w 1909"/>
              <a:gd name="T11" fmla="*/ 954 h 1909"/>
              <a:gd name="T12" fmla="*/ 954 w 1909"/>
              <a:gd name="T13" fmla="*/ 0 h 1909"/>
              <a:gd name="T14" fmla="*/ 954 w 1909"/>
              <a:gd name="T15" fmla="*/ 0 h 1909"/>
              <a:gd name="T16" fmla="*/ 1908 w 1909"/>
              <a:gd name="T17" fmla="*/ 954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9" h="1909">
                <a:moveTo>
                  <a:pt x="1908" y="954"/>
                </a:moveTo>
                <a:lnTo>
                  <a:pt x="1908" y="954"/>
                </a:lnTo>
                <a:cubicBezTo>
                  <a:pt x="1908" y="1481"/>
                  <a:pt x="1481" y="1908"/>
                  <a:pt x="954" y="1908"/>
                </a:cubicBezTo>
                <a:lnTo>
                  <a:pt x="954" y="1908"/>
                </a:lnTo>
                <a:cubicBezTo>
                  <a:pt x="427" y="1908"/>
                  <a:pt x="0" y="1481"/>
                  <a:pt x="0" y="954"/>
                </a:cubicBezTo>
                <a:lnTo>
                  <a:pt x="0" y="954"/>
                </a:lnTo>
                <a:cubicBezTo>
                  <a:pt x="0" y="427"/>
                  <a:pt x="427" y="0"/>
                  <a:pt x="954" y="0"/>
                </a:cubicBezTo>
                <a:lnTo>
                  <a:pt x="954" y="0"/>
                </a:lnTo>
                <a:cubicBezTo>
                  <a:pt x="1481" y="0"/>
                  <a:pt x="1908" y="427"/>
                  <a:pt x="1908" y="954"/>
                </a:cubicBezTo>
              </a:path>
            </a:pathLst>
          </a:custGeom>
          <a:solidFill>
            <a:schemeClr val="accent5"/>
          </a:solidFill>
          <a:ln>
            <a:noFill/>
          </a:ln>
          <a:effectLst/>
        </p:spPr>
        <p:txBody>
          <a:bodyPr wrap="none" anchor="ctr"/>
          <a:lstStyle/>
          <a:p>
            <a:endParaRPr lang="en-GB" sz="1400" dirty="0">
              <a:latin typeface="+mj-lt"/>
            </a:endParaRPr>
          </a:p>
        </p:txBody>
      </p:sp>
      <p:sp>
        <p:nvSpPr>
          <p:cNvPr id="45" name="Freeform 15">
            <a:extLst>
              <a:ext uri="{FF2B5EF4-FFF2-40B4-BE49-F238E27FC236}">
                <a16:creationId xmlns:a16="http://schemas.microsoft.com/office/drawing/2014/main" id="{2852E48C-7E08-4A2E-AF4C-0A224462552A}"/>
              </a:ext>
            </a:extLst>
          </p:cNvPr>
          <p:cNvSpPr>
            <a:spLocks noChangeArrowheads="1"/>
          </p:cNvSpPr>
          <p:nvPr/>
        </p:nvSpPr>
        <p:spPr bwMode="auto">
          <a:xfrm>
            <a:off x="3795362" y="2814169"/>
            <a:ext cx="399050" cy="399050"/>
          </a:xfrm>
          <a:custGeom>
            <a:avLst/>
            <a:gdLst>
              <a:gd name="T0" fmla="*/ 1907 w 1908"/>
              <a:gd name="T1" fmla="*/ 953 h 1908"/>
              <a:gd name="T2" fmla="*/ 1907 w 1908"/>
              <a:gd name="T3" fmla="*/ 953 h 1908"/>
              <a:gd name="T4" fmla="*/ 953 w 1908"/>
              <a:gd name="T5" fmla="*/ 1907 h 1908"/>
              <a:gd name="T6" fmla="*/ 953 w 1908"/>
              <a:gd name="T7" fmla="*/ 1907 h 1908"/>
              <a:gd name="T8" fmla="*/ 0 w 1908"/>
              <a:gd name="T9" fmla="*/ 953 h 1908"/>
              <a:gd name="T10" fmla="*/ 0 w 1908"/>
              <a:gd name="T11" fmla="*/ 953 h 1908"/>
              <a:gd name="T12" fmla="*/ 953 w 1908"/>
              <a:gd name="T13" fmla="*/ 0 h 1908"/>
              <a:gd name="T14" fmla="*/ 953 w 1908"/>
              <a:gd name="T15" fmla="*/ 0 h 1908"/>
              <a:gd name="T16" fmla="*/ 1907 w 1908"/>
              <a:gd name="T17" fmla="*/ 95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8" h="1908">
                <a:moveTo>
                  <a:pt x="1907" y="953"/>
                </a:moveTo>
                <a:lnTo>
                  <a:pt x="1907" y="953"/>
                </a:lnTo>
                <a:cubicBezTo>
                  <a:pt x="1907" y="1480"/>
                  <a:pt x="1480" y="1907"/>
                  <a:pt x="953" y="1907"/>
                </a:cubicBezTo>
                <a:lnTo>
                  <a:pt x="953" y="1907"/>
                </a:lnTo>
                <a:cubicBezTo>
                  <a:pt x="427" y="1907"/>
                  <a:pt x="0" y="1480"/>
                  <a:pt x="0" y="953"/>
                </a:cubicBezTo>
                <a:lnTo>
                  <a:pt x="0" y="953"/>
                </a:lnTo>
                <a:cubicBezTo>
                  <a:pt x="0" y="427"/>
                  <a:pt x="427" y="0"/>
                  <a:pt x="953" y="0"/>
                </a:cubicBezTo>
                <a:lnTo>
                  <a:pt x="953" y="0"/>
                </a:lnTo>
                <a:cubicBezTo>
                  <a:pt x="1480" y="0"/>
                  <a:pt x="1907" y="427"/>
                  <a:pt x="1907" y="953"/>
                </a:cubicBezTo>
              </a:path>
            </a:pathLst>
          </a:custGeom>
          <a:solidFill>
            <a:schemeClr val="accent4"/>
          </a:solidFill>
          <a:ln>
            <a:noFill/>
          </a:ln>
          <a:effectLst/>
        </p:spPr>
        <p:txBody>
          <a:bodyPr wrap="none" anchor="ctr"/>
          <a:lstStyle/>
          <a:p>
            <a:endParaRPr lang="en-GB" sz="1400" dirty="0">
              <a:latin typeface="+mj-lt"/>
            </a:endParaRPr>
          </a:p>
        </p:txBody>
      </p:sp>
      <p:sp>
        <p:nvSpPr>
          <p:cNvPr id="46" name="Freeform 9">
            <a:extLst>
              <a:ext uri="{FF2B5EF4-FFF2-40B4-BE49-F238E27FC236}">
                <a16:creationId xmlns:a16="http://schemas.microsoft.com/office/drawing/2014/main" id="{1C0F0947-DFD3-4AA8-B41C-5623550CCF23}"/>
              </a:ext>
            </a:extLst>
          </p:cNvPr>
          <p:cNvSpPr>
            <a:spLocks noChangeArrowheads="1"/>
          </p:cNvSpPr>
          <p:nvPr/>
        </p:nvSpPr>
        <p:spPr bwMode="auto">
          <a:xfrm>
            <a:off x="3795363" y="4892404"/>
            <a:ext cx="1498511" cy="252517"/>
          </a:xfrm>
          <a:custGeom>
            <a:avLst/>
            <a:gdLst>
              <a:gd name="T0" fmla="*/ 5570 w 6174"/>
              <a:gd name="T1" fmla="*/ 1207 h 1208"/>
              <a:gd name="T2" fmla="*/ 604 w 6174"/>
              <a:gd name="T3" fmla="*/ 1207 h 1208"/>
              <a:gd name="T4" fmla="*/ 604 w 6174"/>
              <a:gd name="T5" fmla="*/ 1207 h 1208"/>
              <a:gd name="T6" fmla="*/ 0 w 6174"/>
              <a:gd name="T7" fmla="*/ 604 h 1208"/>
              <a:gd name="T8" fmla="*/ 0 w 6174"/>
              <a:gd name="T9" fmla="*/ 604 h 1208"/>
              <a:gd name="T10" fmla="*/ 604 w 6174"/>
              <a:gd name="T11" fmla="*/ 0 h 1208"/>
              <a:gd name="T12" fmla="*/ 5570 w 6174"/>
              <a:gd name="T13" fmla="*/ 0 h 1208"/>
              <a:gd name="T14" fmla="*/ 5570 w 6174"/>
              <a:gd name="T15" fmla="*/ 0 h 1208"/>
              <a:gd name="T16" fmla="*/ 6173 w 6174"/>
              <a:gd name="T17" fmla="*/ 604 h 1208"/>
              <a:gd name="T18" fmla="*/ 6173 w 6174"/>
              <a:gd name="T19" fmla="*/ 604 h 1208"/>
              <a:gd name="T20" fmla="*/ 5570 w 6174"/>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74" h="1208">
                <a:moveTo>
                  <a:pt x="5570" y="1207"/>
                </a:moveTo>
                <a:lnTo>
                  <a:pt x="604" y="1207"/>
                </a:lnTo>
                <a:lnTo>
                  <a:pt x="604" y="1207"/>
                </a:lnTo>
                <a:cubicBezTo>
                  <a:pt x="270" y="1207"/>
                  <a:pt x="0" y="937"/>
                  <a:pt x="0" y="604"/>
                </a:cubicBezTo>
                <a:lnTo>
                  <a:pt x="0" y="604"/>
                </a:lnTo>
                <a:cubicBezTo>
                  <a:pt x="0" y="270"/>
                  <a:pt x="270" y="0"/>
                  <a:pt x="604" y="0"/>
                </a:cubicBezTo>
                <a:lnTo>
                  <a:pt x="5570" y="0"/>
                </a:lnTo>
                <a:lnTo>
                  <a:pt x="5570" y="0"/>
                </a:lnTo>
                <a:cubicBezTo>
                  <a:pt x="5903" y="0"/>
                  <a:pt x="6173" y="270"/>
                  <a:pt x="6173" y="604"/>
                </a:cubicBezTo>
                <a:lnTo>
                  <a:pt x="6173" y="604"/>
                </a:lnTo>
                <a:cubicBezTo>
                  <a:pt x="6173" y="937"/>
                  <a:pt x="5903" y="1207"/>
                  <a:pt x="5570" y="1207"/>
                </a:cubicBezTo>
              </a:path>
            </a:pathLst>
          </a:custGeom>
          <a:solidFill>
            <a:schemeClr val="accent6"/>
          </a:solidFill>
          <a:ln>
            <a:noFill/>
          </a:ln>
          <a:effectLst/>
        </p:spPr>
        <p:txBody>
          <a:bodyPr wrap="none" anchor="ctr"/>
          <a:lstStyle/>
          <a:p>
            <a:endParaRPr lang="en-GB" sz="1400" dirty="0">
              <a:latin typeface="+mj-lt"/>
            </a:endParaRPr>
          </a:p>
        </p:txBody>
      </p:sp>
      <p:sp>
        <p:nvSpPr>
          <p:cNvPr id="50" name="Subtitle 2">
            <a:extLst>
              <a:ext uri="{FF2B5EF4-FFF2-40B4-BE49-F238E27FC236}">
                <a16:creationId xmlns:a16="http://schemas.microsoft.com/office/drawing/2014/main" id="{C47E4B41-61C6-47B1-9C25-3CAC0B814247}"/>
              </a:ext>
            </a:extLst>
          </p:cNvPr>
          <p:cNvSpPr txBox="1">
            <a:spLocks/>
          </p:cNvSpPr>
          <p:nvPr/>
        </p:nvSpPr>
        <p:spPr>
          <a:xfrm>
            <a:off x="6158151" y="1816161"/>
            <a:ext cx="5570408" cy="440506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endParaRPr lang="en-GB" sz="16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The following levers can be considered for the derivation of measures:</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Invoice Receipt Verification</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Invoice receipt date should be used as the basis for calculating the due date</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alculation of cash discount deductions</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hecking whether it is economically more sensible to take advantage of a discount than to take advantage of a payment term</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Minimize payment runs</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Bundling the payment of invoices into only one or two payment runs per week</a:t>
            </a:r>
          </a:p>
        </p:txBody>
      </p:sp>
      <p:sp>
        <p:nvSpPr>
          <p:cNvPr id="57" name="TextBox 38">
            <a:extLst>
              <a:ext uri="{FF2B5EF4-FFF2-40B4-BE49-F238E27FC236}">
                <a16:creationId xmlns:a16="http://schemas.microsoft.com/office/drawing/2014/main" id="{236FC522-6FFE-46EE-816D-3D21A38A3671}"/>
              </a:ext>
            </a:extLst>
          </p:cNvPr>
          <p:cNvSpPr txBox="1"/>
          <p:nvPr/>
        </p:nvSpPr>
        <p:spPr>
          <a:xfrm>
            <a:off x="3802752" y="3132246"/>
            <a:ext cx="1487138" cy="707886"/>
          </a:xfrm>
          <a:prstGeom prst="rect">
            <a:avLst/>
          </a:prstGeom>
          <a:noFill/>
        </p:spPr>
        <p:txBody>
          <a:bodyPr wrap="none" rtlCol="0" anchor="ctr" anchorCtr="0">
            <a:spAutoFit/>
          </a:bodyPr>
          <a:lstStyle/>
          <a:p>
            <a:pPr algn="ctr"/>
            <a:r>
              <a:rPr lang="en-GB" sz="2000" b="1" dirty="0">
                <a:solidFill>
                  <a:schemeClr val="tx2"/>
                </a:solidFill>
                <a:latin typeface="+mj-lt"/>
                <a:ea typeface="League Spartan" charset="0"/>
                <a:cs typeface="Poppins" pitchFamily="2" charset="77"/>
              </a:rPr>
              <a:t>Optimization</a:t>
            </a:r>
            <a:br>
              <a:rPr lang="en-GB" sz="2000" b="1" dirty="0">
                <a:solidFill>
                  <a:schemeClr val="tx2"/>
                </a:solidFill>
                <a:latin typeface="+mj-lt"/>
                <a:ea typeface="League Spartan" charset="0"/>
                <a:cs typeface="Poppins" pitchFamily="2" charset="77"/>
              </a:rPr>
            </a:br>
            <a:r>
              <a:rPr lang="en-GB" sz="2000" b="1" dirty="0">
                <a:solidFill>
                  <a:schemeClr val="tx2"/>
                </a:solidFill>
                <a:latin typeface="+mj-lt"/>
                <a:ea typeface="League Spartan" charset="0"/>
                <a:cs typeface="Poppins" pitchFamily="2" charset="77"/>
              </a:rPr>
              <a:t> of liabilities </a:t>
            </a:r>
          </a:p>
        </p:txBody>
      </p:sp>
    </p:spTree>
    <p:extLst>
      <p:ext uri="{BB962C8B-B14F-4D97-AF65-F5344CB8AC3E}">
        <p14:creationId xmlns:p14="http://schemas.microsoft.com/office/powerpoint/2010/main" val="2969640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12439" y="524584"/>
            <a:ext cx="8852375" cy="697353"/>
          </a:xfrm>
        </p:spPr>
        <p:txBody>
          <a:bodyPr>
            <a:normAutofit/>
          </a:bodyPr>
          <a:lstStyle/>
          <a:p>
            <a:r>
              <a:rPr lang="en-GB" sz="2800" dirty="0"/>
              <a:t>Working Capital Management, 3 levels of action</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304744" y="1957556"/>
            <a:ext cx="2810071" cy="437586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In particular, three central levels of action are available to optimize working capital:</a:t>
            </a:r>
            <a:endParaRPr lang="en-US" dirty="0">
              <a:solidFill>
                <a:srgbClr val="245473"/>
              </a:solidFill>
              <a:latin typeface="+mj-lt"/>
            </a:endParaRPr>
          </a:p>
          <a:p>
            <a:pPr marL="285750" indent="-285750" algn="l">
              <a:lnSpc>
                <a:spcPct val="100000"/>
              </a:lnSpc>
              <a:spcBef>
                <a:spcPts val="600"/>
              </a:spcBef>
              <a:buFont typeface="Arial" panose="020B0604020202020204" pitchFamily="34" charset="0"/>
              <a:buChar char="•"/>
            </a:pPr>
            <a:r>
              <a:rPr lang="en-GB" altLang="de-DE" sz="2200" dirty="0">
                <a:solidFill>
                  <a:srgbClr val="245473"/>
                </a:solidFill>
                <a:latin typeface="+mj-lt"/>
              </a:rPr>
              <a:t>Optimization of the Accounts Receivables</a:t>
            </a:r>
          </a:p>
          <a:p>
            <a:pPr marL="285750" indent="-285750" algn="l">
              <a:lnSpc>
                <a:spcPct val="100000"/>
              </a:lnSpc>
              <a:spcBef>
                <a:spcPts val="600"/>
              </a:spcBef>
              <a:buFont typeface="Arial" panose="020B0604020202020204" pitchFamily="34" charset="0"/>
              <a:buChar char="•"/>
            </a:pPr>
            <a:r>
              <a:rPr lang="en-GB" altLang="de-DE" sz="2200" dirty="0">
                <a:solidFill>
                  <a:srgbClr val="245473"/>
                </a:solidFill>
                <a:latin typeface="+mj-lt"/>
              </a:rPr>
              <a:t>Optimization of stocks and supply</a:t>
            </a:r>
          </a:p>
          <a:p>
            <a:pPr marL="285750" indent="-285750" algn="l">
              <a:lnSpc>
                <a:spcPct val="100000"/>
              </a:lnSpc>
              <a:spcBef>
                <a:spcPts val="600"/>
              </a:spcBef>
              <a:buFont typeface="Arial" panose="020B0604020202020204" pitchFamily="34" charset="0"/>
              <a:buChar char="•"/>
            </a:pPr>
            <a:r>
              <a:rPr lang="en-GB" altLang="de-DE" sz="2200" dirty="0">
                <a:solidFill>
                  <a:srgbClr val="245473"/>
                </a:solidFill>
                <a:latin typeface="+mj-lt"/>
              </a:rPr>
              <a:t>Optimization of the accounts Payable </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grpSp>
        <p:nvGrpSpPr>
          <p:cNvPr id="6" name="Gruppieren 5">
            <a:extLst>
              <a:ext uri="{FF2B5EF4-FFF2-40B4-BE49-F238E27FC236}">
                <a16:creationId xmlns:a16="http://schemas.microsoft.com/office/drawing/2014/main" id="{F371017E-567F-4D1E-894A-4B0D6F3A2B3B}"/>
              </a:ext>
            </a:extLst>
          </p:cNvPr>
          <p:cNvGrpSpPr/>
          <p:nvPr/>
        </p:nvGrpSpPr>
        <p:grpSpPr>
          <a:xfrm>
            <a:off x="4126092" y="3324289"/>
            <a:ext cx="6716080" cy="1388398"/>
            <a:chOff x="4709566" y="3275418"/>
            <a:chExt cx="5012339" cy="1122542"/>
          </a:xfrm>
        </p:grpSpPr>
        <p:sp>
          <p:nvSpPr>
            <p:cNvPr id="7" name="Freeform 43">
              <a:extLst>
                <a:ext uri="{FF2B5EF4-FFF2-40B4-BE49-F238E27FC236}">
                  <a16:creationId xmlns:a16="http://schemas.microsoft.com/office/drawing/2014/main" id="{176304FF-8205-4BC3-9205-1489E2984297}"/>
                </a:ext>
              </a:extLst>
            </p:cNvPr>
            <p:cNvSpPr>
              <a:spLocks/>
            </p:cNvSpPr>
            <p:nvPr/>
          </p:nvSpPr>
          <p:spPr bwMode="auto">
            <a:xfrm>
              <a:off x="5730896" y="3275418"/>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 name="Freeform 36">
              <a:extLst>
                <a:ext uri="{FF2B5EF4-FFF2-40B4-BE49-F238E27FC236}">
                  <a16:creationId xmlns:a16="http://schemas.microsoft.com/office/drawing/2014/main" id="{373577D5-9A68-488F-B6BF-D830D4BE5AF0}"/>
                </a:ext>
              </a:extLst>
            </p:cNvPr>
            <p:cNvSpPr>
              <a:spLocks/>
            </p:cNvSpPr>
            <p:nvPr/>
          </p:nvSpPr>
          <p:spPr bwMode="auto">
            <a:xfrm>
              <a:off x="4709566" y="327541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 name="Freeform 37">
              <a:extLst>
                <a:ext uri="{FF2B5EF4-FFF2-40B4-BE49-F238E27FC236}">
                  <a16:creationId xmlns:a16="http://schemas.microsoft.com/office/drawing/2014/main" id="{AA938810-4814-4500-8C19-410DD80C8CC6}"/>
                </a:ext>
              </a:extLst>
            </p:cNvPr>
            <p:cNvSpPr>
              <a:spLocks/>
            </p:cNvSpPr>
            <p:nvPr/>
          </p:nvSpPr>
          <p:spPr bwMode="auto">
            <a:xfrm>
              <a:off x="4709566" y="327541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 name="Rectangle 48">
              <a:extLst>
                <a:ext uri="{FF2B5EF4-FFF2-40B4-BE49-F238E27FC236}">
                  <a16:creationId xmlns:a16="http://schemas.microsoft.com/office/drawing/2014/main" id="{D5406581-0180-4165-9BA0-F9EBC21AA4D8}"/>
                </a:ext>
              </a:extLst>
            </p:cNvPr>
            <p:cNvSpPr>
              <a:spLocks/>
            </p:cNvSpPr>
            <p:nvPr/>
          </p:nvSpPr>
          <p:spPr bwMode="auto">
            <a:xfrm>
              <a:off x="4959197" y="3627082"/>
              <a:ext cx="748821" cy="398148"/>
            </a:xfrm>
            <a:prstGeom prst="rect">
              <a:avLst/>
            </a:prstGeom>
            <a:noFill/>
            <a:ln>
              <a:noFill/>
            </a:ln>
            <a:extLst>
              <a:ext uri="{909E8E84-426E-40dd-AFC4-6F175D3DCCD1}">
                <a14:hiddenFill xmlns="" xmlns:p14="http://schemas.microsoft.com/office/powerpoint/2010/main" xmlns:mc="http://schemas.openxmlformats.org/markup-compatibility/2006" xmlns:a14="http://schemas.microsoft.com/office/drawing/2010/main">
                  <a:solidFill>
                    <a:srgbClr val="FFFFFF"/>
                  </a:solidFill>
                </a14:hiddenFill>
              </a:ext>
              <a:ext uri="{91240B29-F687-4f45-9708-019B960494DF}">
                <a14:hiddenLine xmlns="" xmlns:p14="http://schemas.microsoft.com/office/powerpoint/2010/main" xmlns:mc="http://schemas.openxmlformats.org/markup-compatibility/2006"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a:solidFill>
                    <a:schemeClr val="bg1"/>
                  </a:solidFill>
                  <a:latin typeface="+mj-lt"/>
                  <a:ea typeface="Roboto" charset="0"/>
                  <a:cs typeface="Roboto" charset="0"/>
                  <a:sym typeface="Bebas Neue" charset="0"/>
                </a:rPr>
                <a:t>Stocks and</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Supply</a:t>
              </a:r>
              <a:endParaRPr lang="en-GB" sz="1600" b="1" spc="113" dirty="0">
                <a:solidFill>
                  <a:schemeClr val="bg1"/>
                </a:solidFill>
                <a:latin typeface="+mj-lt"/>
                <a:ea typeface="Roboto" charset="0"/>
                <a:cs typeface="Roboto" charset="0"/>
                <a:sym typeface="Bebas Neue" charset="0"/>
              </a:endParaRPr>
            </a:p>
          </p:txBody>
        </p:sp>
        <p:sp>
          <p:nvSpPr>
            <p:cNvPr id="11" name="TextBox 49">
              <a:extLst>
                <a:ext uri="{FF2B5EF4-FFF2-40B4-BE49-F238E27FC236}">
                  <a16:creationId xmlns:a16="http://schemas.microsoft.com/office/drawing/2014/main" id="{284B7E81-0F34-47C6-AA1A-7902864A1427}"/>
                </a:ext>
              </a:extLst>
            </p:cNvPr>
            <p:cNvSpPr txBox="1"/>
            <p:nvPr/>
          </p:nvSpPr>
          <p:spPr>
            <a:xfrm>
              <a:off x="6158751" y="3528504"/>
              <a:ext cx="3499055" cy="603442"/>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Reduction of inventories</a:t>
              </a:r>
            </a:p>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Special sales</a:t>
              </a:r>
            </a:p>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Just-in-time production, consignment stock</a:t>
              </a:r>
            </a:p>
          </p:txBody>
        </p:sp>
      </p:grpSp>
      <p:grpSp>
        <p:nvGrpSpPr>
          <p:cNvPr id="24" name="Gruppieren 23">
            <a:extLst>
              <a:ext uri="{FF2B5EF4-FFF2-40B4-BE49-F238E27FC236}">
                <a16:creationId xmlns:a16="http://schemas.microsoft.com/office/drawing/2014/main" id="{96AED455-D17A-4717-91A9-6F085175E00F}"/>
              </a:ext>
            </a:extLst>
          </p:cNvPr>
          <p:cNvGrpSpPr/>
          <p:nvPr/>
        </p:nvGrpSpPr>
        <p:grpSpPr>
          <a:xfrm>
            <a:off x="4126092" y="4794689"/>
            <a:ext cx="6716080" cy="1388398"/>
            <a:chOff x="4709566" y="4505970"/>
            <a:chExt cx="5012339" cy="1122542"/>
          </a:xfrm>
        </p:grpSpPr>
        <p:sp>
          <p:nvSpPr>
            <p:cNvPr id="12" name="Freeform 43">
              <a:extLst>
                <a:ext uri="{FF2B5EF4-FFF2-40B4-BE49-F238E27FC236}">
                  <a16:creationId xmlns:a16="http://schemas.microsoft.com/office/drawing/2014/main" id="{5AFE15C6-BFCC-4FA5-A5F6-1454A152473C}"/>
                </a:ext>
              </a:extLst>
            </p:cNvPr>
            <p:cNvSpPr>
              <a:spLocks/>
            </p:cNvSpPr>
            <p:nvPr/>
          </p:nvSpPr>
          <p:spPr bwMode="auto">
            <a:xfrm>
              <a:off x="5730896" y="4505970"/>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4" name="Freeform 36">
              <a:extLst>
                <a:ext uri="{FF2B5EF4-FFF2-40B4-BE49-F238E27FC236}">
                  <a16:creationId xmlns:a16="http://schemas.microsoft.com/office/drawing/2014/main" id="{5DF4F918-49D8-4DA5-B68B-819A88AA2E02}"/>
                </a:ext>
              </a:extLst>
            </p:cNvPr>
            <p:cNvSpPr>
              <a:spLocks/>
            </p:cNvSpPr>
            <p:nvPr/>
          </p:nvSpPr>
          <p:spPr bwMode="auto">
            <a:xfrm>
              <a:off x="4709566" y="450597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5" name="Freeform 37">
              <a:extLst>
                <a:ext uri="{FF2B5EF4-FFF2-40B4-BE49-F238E27FC236}">
                  <a16:creationId xmlns:a16="http://schemas.microsoft.com/office/drawing/2014/main" id="{060D8EB1-8B82-46C1-9094-78C1EC157643}"/>
                </a:ext>
              </a:extLst>
            </p:cNvPr>
            <p:cNvSpPr>
              <a:spLocks/>
            </p:cNvSpPr>
            <p:nvPr/>
          </p:nvSpPr>
          <p:spPr bwMode="auto">
            <a:xfrm>
              <a:off x="4709566" y="450597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Rectangle 59">
              <a:extLst>
                <a:ext uri="{FF2B5EF4-FFF2-40B4-BE49-F238E27FC236}">
                  <a16:creationId xmlns:a16="http://schemas.microsoft.com/office/drawing/2014/main" id="{545F64AB-285D-454F-92D7-5BE85C7A2C20}"/>
                </a:ext>
              </a:extLst>
            </p:cNvPr>
            <p:cNvSpPr>
              <a:spLocks/>
            </p:cNvSpPr>
            <p:nvPr/>
          </p:nvSpPr>
          <p:spPr bwMode="auto">
            <a:xfrm>
              <a:off x="5014875" y="4857634"/>
              <a:ext cx="637465" cy="398148"/>
            </a:xfrm>
            <a:prstGeom prst="rect">
              <a:avLst/>
            </a:prstGeom>
            <a:noFill/>
            <a:ln>
              <a:noFill/>
            </a:ln>
            <a:extLst>
              <a:ext uri="{909E8E84-426E-40dd-AFC4-6F175D3DCCD1}">
                <a14:hiddenFill xmlns="" xmlns:p14="http://schemas.microsoft.com/office/powerpoint/2010/main" xmlns:mc="http://schemas.openxmlformats.org/markup-compatibility/2006" xmlns:a14="http://schemas.microsoft.com/office/drawing/2010/main">
                  <a:solidFill>
                    <a:srgbClr val="FFFFFF"/>
                  </a:solidFill>
                </a14:hiddenFill>
              </a:ext>
              <a:ext uri="{91240B29-F687-4f45-9708-019B960494DF}">
                <a14:hiddenLine xmlns="" xmlns:p14="http://schemas.microsoft.com/office/powerpoint/2010/main" xmlns:mc="http://schemas.openxmlformats.org/markup-compatibility/2006"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a:solidFill>
                    <a:schemeClr val="bg1"/>
                  </a:solidFill>
                  <a:latin typeface="+mj-lt"/>
                  <a:ea typeface="Roboto" charset="0"/>
                  <a:cs typeface="Roboto" charset="0"/>
                  <a:sym typeface="Bebas Neue" charset="0"/>
                </a:rPr>
                <a:t>Accounts</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Payable</a:t>
              </a:r>
              <a:endParaRPr lang="en-GB" sz="1600" b="1" spc="113" dirty="0">
                <a:solidFill>
                  <a:schemeClr val="bg1"/>
                </a:solidFill>
                <a:latin typeface="+mj-lt"/>
                <a:ea typeface="Roboto" charset="0"/>
                <a:cs typeface="Roboto" charset="0"/>
                <a:sym typeface="Bebas Neue" charset="0"/>
              </a:endParaRPr>
            </a:p>
          </p:txBody>
        </p:sp>
        <p:sp>
          <p:nvSpPr>
            <p:cNvPr id="18" name="TextBox 80">
              <a:extLst>
                <a:ext uri="{FF2B5EF4-FFF2-40B4-BE49-F238E27FC236}">
                  <a16:creationId xmlns:a16="http://schemas.microsoft.com/office/drawing/2014/main" id="{D3B4C848-5FA9-4489-8A6B-A6ADD14D0543}"/>
                </a:ext>
              </a:extLst>
            </p:cNvPr>
            <p:cNvSpPr txBox="1"/>
            <p:nvPr/>
          </p:nvSpPr>
          <p:spPr>
            <a:xfrm>
              <a:off x="6158751" y="4935319"/>
              <a:ext cx="3499055" cy="250916"/>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Extension of payment periods</a:t>
              </a:r>
            </a:p>
          </p:txBody>
        </p:sp>
      </p:grpSp>
      <p:grpSp>
        <p:nvGrpSpPr>
          <p:cNvPr id="5" name="Gruppieren 4">
            <a:extLst>
              <a:ext uri="{FF2B5EF4-FFF2-40B4-BE49-F238E27FC236}">
                <a16:creationId xmlns:a16="http://schemas.microsoft.com/office/drawing/2014/main" id="{F794DC0C-563E-420B-B303-F5AB71CE8705}"/>
              </a:ext>
            </a:extLst>
          </p:cNvPr>
          <p:cNvGrpSpPr/>
          <p:nvPr/>
        </p:nvGrpSpPr>
        <p:grpSpPr>
          <a:xfrm>
            <a:off x="4126092" y="1853889"/>
            <a:ext cx="6716080" cy="1388398"/>
            <a:chOff x="4709566" y="2030094"/>
            <a:chExt cx="5012339" cy="1122542"/>
          </a:xfrm>
        </p:grpSpPr>
        <p:sp>
          <p:nvSpPr>
            <p:cNvPr id="19" name="Freeform 43">
              <a:extLst>
                <a:ext uri="{FF2B5EF4-FFF2-40B4-BE49-F238E27FC236}">
                  <a16:creationId xmlns:a16="http://schemas.microsoft.com/office/drawing/2014/main" id="{9680277E-2BDD-45B6-B632-0322D2EA4A54}"/>
                </a:ext>
              </a:extLst>
            </p:cNvPr>
            <p:cNvSpPr>
              <a:spLocks/>
            </p:cNvSpPr>
            <p:nvPr/>
          </p:nvSpPr>
          <p:spPr bwMode="auto">
            <a:xfrm>
              <a:off x="5730896" y="2030094"/>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0" name="Freeform 36">
              <a:extLst>
                <a:ext uri="{FF2B5EF4-FFF2-40B4-BE49-F238E27FC236}">
                  <a16:creationId xmlns:a16="http://schemas.microsoft.com/office/drawing/2014/main" id="{E8D72328-1B5F-4A62-94EB-1411BDBCB124}"/>
                </a:ext>
              </a:extLst>
            </p:cNvPr>
            <p:cNvSpPr>
              <a:spLocks/>
            </p:cNvSpPr>
            <p:nvPr/>
          </p:nvSpPr>
          <p:spPr bwMode="auto">
            <a:xfrm>
              <a:off x="4709566" y="203009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1" name="Freeform 37">
              <a:extLst>
                <a:ext uri="{FF2B5EF4-FFF2-40B4-BE49-F238E27FC236}">
                  <a16:creationId xmlns:a16="http://schemas.microsoft.com/office/drawing/2014/main" id="{BA74F4A2-96C8-44C7-B950-189A4E20FAF7}"/>
                </a:ext>
              </a:extLst>
            </p:cNvPr>
            <p:cNvSpPr>
              <a:spLocks/>
            </p:cNvSpPr>
            <p:nvPr/>
          </p:nvSpPr>
          <p:spPr bwMode="auto">
            <a:xfrm>
              <a:off x="4709566" y="203009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Rectangle 85">
              <a:extLst>
                <a:ext uri="{FF2B5EF4-FFF2-40B4-BE49-F238E27FC236}">
                  <a16:creationId xmlns:a16="http://schemas.microsoft.com/office/drawing/2014/main" id="{ACB5D9E2-9DE2-459F-9543-788538E13AD3}"/>
                </a:ext>
              </a:extLst>
            </p:cNvPr>
            <p:cNvSpPr>
              <a:spLocks/>
            </p:cNvSpPr>
            <p:nvPr/>
          </p:nvSpPr>
          <p:spPr bwMode="auto">
            <a:xfrm>
              <a:off x="4923832" y="2381760"/>
              <a:ext cx="819549" cy="398148"/>
            </a:xfrm>
            <a:prstGeom prst="rect">
              <a:avLst/>
            </a:prstGeom>
            <a:noFill/>
            <a:ln>
              <a:noFill/>
            </a:ln>
            <a:extLst>
              <a:ext uri="{909E8E84-426E-40dd-AFC4-6F175D3DCCD1}">
                <a14:hiddenFill xmlns="" xmlns:p14="http://schemas.microsoft.com/office/powerpoint/2010/main" xmlns:mc="http://schemas.openxmlformats.org/markup-compatibility/2006" xmlns:a14="http://schemas.microsoft.com/office/drawing/2010/main">
                  <a:solidFill>
                    <a:srgbClr val="FFFFFF"/>
                  </a:solidFill>
                </a14:hiddenFill>
              </a:ext>
              <a:ext uri="{91240B29-F687-4f45-9708-019B960494DF}">
                <a14:hiddenLine xmlns="" xmlns:p14="http://schemas.microsoft.com/office/powerpoint/2010/main" xmlns:mc="http://schemas.openxmlformats.org/markup-compatibility/2006"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a:solidFill>
                    <a:schemeClr val="bg1"/>
                  </a:solidFill>
                  <a:latin typeface="+mj-lt"/>
                  <a:ea typeface="Roboto" charset="0"/>
                  <a:cs typeface="Roboto" charset="0"/>
                  <a:sym typeface="Bebas Neue" charset="0"/>
                </a:rPr>
                <a:t>Accounts</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Receivables</a:t>
              </a:r>
              <a:endParaRPr lang="en-GB" sz="1600" b="1" spc="113" dirty="0">
                <a:solidFill>
                  <a:schemeClr val="bg1"/>
                </a:solidFill>
                <a:latin typeface="+mj-lt"/>
                <a:ea typeface="Roboto" charset="0"/>
                <a:cs typeface="Roboto" charset="0"/>
                <a:sym typeface="Bebas Neue" charset="0"/>
              </a:endParaRPr>
            </a:p>
          </p:txBody>
        </p:sp>
        <p:sp>
          <p:nvSpPr>
            <p:cNvPr id="23" name="TextBox 86">
              <a:extLst>
                <a:ext uri="{FF2B5EF4-FFF2-40B4-BE49-F238E27FC236}">
                  <a16:creationId xmlns:a16="http://schemas.microsoft.com/office/drawing/2014/main" id="{40029B10-5D86-4E1D-87FA-6D028723534F}"/>
                </a:ext>
              </a:extLst>
            </p:cNvPr>
            <p:cNvSpPr txBox="1"/>
            <p:nvPr/>
          </p:nvSpPr>
          <p:spPr>
            <a:xfrm>
              <a:off x="6158751" y="2058985"/>
              <a:ext cx="3499055" cy="1070021"/>
            </a:xfrm>
            <a:prstGeom prst="rect">
              <a:avLst/>
            </a:prstGeom>
            <a:noFill/>
          </p:spPr>
          <p:txBody>
            <a:bodyPr wrap="square" lIns="91440" tIns="45720" rIns="91440" bIns="45720" rtlCol="0" anchor="t">
              <a:spAutoFit/>
            </a:bodyPr>
            <a:lstStyle/>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Factoring / Optimization of the dunning process,</a:t>
              </a:r>
            </a:p>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Shortening the payment periods</a:t>
              </a:r>
            </a:p>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Risk hedging (creditworthiness, price changes, interest rate and currency risks)</a:t>
              </a:r>
            </a:p>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cash pooling</a:t>
              </a:r>
            </a:p>
          </p:txBody>
        </p:sp>
      </p:grpSp>
    </p:spTree>
    <p:extLst>
      <p:ext uri="{BB962C8B-B14F-4D97-AF65-F5344CB8AC3E}">
        <p14:creationId xmlns:p14="http://schemas.microsoft.com/office/powerpoint/2010/main" val="2881815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177491" y="647234"/>
            <a:ext cx="8852375" cy="697353"/>
          </a:xfrm>
        </p:spPr>
        <p:txBody>
          <a:bodyPr>
            <a:normAutofit fontScale="85000" lnSpcReduction="10000"/>
          </a:bodyPr>
          <a:lstStyle/>
          <a:p>
            <a:r>
              <a:rPr lang="en-GB" dirty="0"/>
              <a:t>Working Capital Management: The Operating Cycle</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325257" y="1881673"/>
            <a:ext cx="6013572"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Current assets are needed because sales do not convert into cash instantaneously; there is always an</a:t>
            </a:r>
            <a:r>
              <a:rPr lang="en-GB" altLang="de-DE" sz="2000" b="1" dirty="0">
                <a:solidFill>
                  <a:srgbClr val="245473"/>
                </a:solidFill>
                <a:latin typeface="+mj-lt"/>
              </a:rPr>
              <a:t> operating cycle </a:t>
            </a:r>
            <a:r>
              <a:rPr lang="en-GB" altLang="de-DE" sz="2000" dirty="0">
                <a:solidFill>
                  <a:srgbClr val="245473"/>
                </a:solidFill>
                <a:latin typeface="+mj-lt"/>
              </a:rPr>
              <a:t>involved in the conversion of sales into cash</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he Operating cycle is divided into three phases:</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cquisition of resources such as raw materials, </a:t>
            </a:r>
            <a:r>
              <a:rPr lang="en-GB" sz="2000" dirty="0" err="1">
                <a:solidFill>
                  <a:srgbClr val="245473"/>
                </a:solidFill>
                <a:latin typeface="+mj-lt"/>
                <a:ea typeface="Open Sans Light" panose="020B0306030504020204" pitchFamily="34" charset="0"/>
                <a:cs typeface="Open Sans Light" panose="020B0306030504020204" pitchFamily="34" charset="0"/>
              </a:rPr>
              <a:t>labor</a:t>
            </a:r>
            <a:r>
              <a:rPr lang="en-GB" sz="2000" dirty="0">
                <a:solidFill>
                  <a:srgbClr val="245473"/>
                </a:solidFill>
                <a:latin typeface="+mj-lt"/>
                <a:ea typeface="Open Sans Light" panose="020B0306030504020204" pitchFamily="34" charset="0"/>
                <a:cs typeface="Open Sans Light" panose="020B0306030504020204" pitchFamily="34" charset="0"/>
              </a:rPr>
              <a:t> and overheads.</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Manufacturing of products, this includes conversion of raw materials into work in progress and finished goods.</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ales of the finished product either for cash or on credit  (accounts receivable)</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The length of the operating cycle of a firm is the sum of the inventory conversion period and debtors conversion period . (Gross Operating Cycles)</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17" name="Freeform 34">
            <a:extLst>
              <a:ext uri="{FF2B5EF4-FFF2-40B4-BE49-F238E27FC236}">
                <a16:creationId xmlns:a16="http://schemas.microsoft.com/office/drawing/2014/main" id="{688E9AD6-F413-406F-8F6C-DE04405AD8E5}"/>
              </a:ext>
            </a:extLst>
          </p:cNvPr>
          <p:cNvSpPr/>
          <p:nvPr/>
        </p:nvSpPr>
        <p:spPr>
          <a:xfrm>
            <a:off x="7444075" y="2238222"/>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18" name="Freeform 36">
            <a:extLst>
              <a:ext uri="{FF2B5EF4-FFF2-40B4-BE49-F238E27FC236}">
                <a16:creationId xmlns:a16="http://schemas.microsoft.com/office/drawing/2014/main" id="{561D7EE2-D46A-4A5E-B3DB-D326AF94BAFB}"/>
              </a:ext>
            </a:extLst>
          </p:cNvPr>
          <p:cNvSpPr/>
          <p:nvPr/>
        </p:nvSpPr>
        <p:spPr>
          <a:xfrm>
            <a:off x="9211687" y="2510673"/>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19" name="Freeform 35">
            <a:extLst>
              <a:ext uri="{FF2B5EF4-FFF2-40B4-BE49-F238E27FC236}">
                <a16:creationId xmlns:a16="http://schemas.microsoft.com/office/drawing/2014/main" id="{CFDF103C-8F33-4927-8D1E-C63A7BDD4D32}"/>
              </a:ext>
            </a:extLst>
          </p:cNvPr>
          <p:cNvSpPr/>
          <p:nvPr/>
        </p:nvSpPr>
        <p:spPr>
          <a:xfrm>
            <a:off x="7205478" y="3312394"/>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6" name="TextBox 44">
            <a:extLst>
              <a:ext uri="{FF2B5EF4-FFF2-40B4-BE49-F238E27FC236}">
                <a16:creationId xmlns:a16="http://schemas.microsoft.com/office/drawing/2014/main" id="{46C2998B-3164-4A16-A246-43DFC73A96DF}"/>
              </a:ext>
            </a:extLst>
          </p:cNvPr>
          <p:cNvSpPr txBox="1"/>
          <p:nvPr/>
        </p:nvSpPr>
        <p:spPr>
          <a:xfrm>
            <a:off x="6678637" y="2340682"/>
            <a:ext cx="1115049" cy="338554"/>
          </a:xfrm>
          <a:prstGeom prst="rect">
            <a:avLst/>
          </a:prstGeom>
          <a:noFill/>
        </p:spPr>
        <p:txBody>
          <a:bodyPr wrap="square" rtlCol="0" anchor="b" anchorCtr="0">
            <a:spAutoFit/>
          </a:bodyPr>
          <a:lstStyle/>
          <a:p>
            <a:pPr algn="r"/>
            <a:r>
              <a:rPr lang="en-GB" sz="1600" b="1">
                <a:solidFill>
                  <a:schemeClr val="tx2"/>
                </a:solidFill>
                <a:latin typeface="+mj-lt"/>
                <a:ea typeface="League Spartan" charset="0"/>
                <a:cs typeface="Poppins" pitchFamily="2" charset="77"/>
              </a:rPr>
              <a:t>Cash</a:t>
            </a:r>
            <a:endParaRPr lang="en-GB" sz="1600" b="1" dirty="0">
              <a:solidFill>
                <a:schemeClr val="tx2"/>
              </a:solidFill>
              <a:latin typeface="+mj-lt"/>
              <a:ea typeface="League Spartan" charset="0"/>
              <a:cs typeface="Poppins" pitchFamily="2" charset="77"/>
            </a:endParaRPr>
          </a:p>
        </p:txBody>
      </p:sp>
      <p:sp>
        <p:nvSpPr>
          <p:cNvPr id="28" name="TextBox 46">
            <a:extLst>
              <a:ext uri="{FF2B5EF4-FFF2-40B4-BE49-F238E27FC236}">
                <a16:creationId xmlns:a16="http://schemas.microsoft.com/office/drawing/2014/main" id="{A380563E-0AF1-4184-965D-5CBD3D87DE74}"/>
              </a:ext>
            </a:extLst>
          </p:cNvPr>
          <p:cNvSpPr txBox="1"/>
          <p:nvPr/>
        </p:nvSpPr>
        <p:spPr>
          <a:xfrm>
            <a:off x="6467194" y="4493199"/>
            <a:ext cx="1115049" cy="584775"/>
          </a:xfrm>
          <a:prstGeom prst="rect">
            <a:avLst/>
          </a:prstGeom>
          <a:noFill/>
        </p:spPr>
        <p:txBody>
          <a:bodyPr wrap="square" rtlCol="0" anchor="b" anchorCtr="0">
            <a:spAutoFit/>
          </a:bodyPr>
          <a:lstStyle/>
          <a:p>
            <a:pPr algn="r"/>
            <a:r>
              <a:rPr lang="en-GB" sz="1600" b="1">
                <a:solidFill>
                  <a:schemeClr val="tx2"/>
                </a:solidFill>
                <a:latin typeface="+mj-lt"/>
                <a:ea typeface="League Spartan" charset="0"/>
                <a:cs typeface="Poppins" pitchFamily="2" charset="77"/>
              </a:rPr>
              <a:t>Accounts Receivable</a:t>
            </a:r>
            <a:endParaRPr lang="en-GB" sz="1600" b="1" dirty="0">
              <a:solidFill>
                <a:schemeClr val="tx2"/>
              </a:solidFill>
              <a:latin typeface="+mj-lt"/>
              <a:ea typeface="League Spartan" charset="0"/>
              <a:cs typeface="Poppins" pitchFamily="2" charset="77"/>
            </a:endParaRPr>
          </a:p>
        </p:txBody>
      </p:sp>
      <p:sp>
        <p:nvSpPr>
          <p:cNvPr id="30" name="TextBox 48">
            <a:extLst>
              <a:ext uri="{FF2B5EF4-FFF2-40B4-BE49-F238E27FC236}">
                <a16:creationId xmlns:a16="http://schemas.microsoft.com/office/drawing/2014/main" id="{E86582D1-C360-40E0-B38C-FFE9CEAEE3E2}"/>
              </a:ext>
            </a:extLst>
          </p:cNvPr>
          <p:cNvSpPr txBox="1"/>
          <p:nvPr/>
        </p:nvSpPr>
        <p:spPr>
          <a:xfrm>
            <a:off x="10771334" y="3167136"/>
            <a:ext cx="1115049" cy="338554"/>
          </a:xfrm>
          <a:prstGeom prst="rect">
            <a:avLst/>
          </a:prstGeom>
          <a:noFill/>
        </p:spPr>
        <p:txBody>
          <a:bodyPr wrap="square" rtlCol="0" anchor="b" anchorCtr="0">
            <a:spAutoFit/>
          </a:bodyPr>
          <a:lstStyle/>
          <a:p>
            <a:r>
              <a:rPr lang="en-GB" sz="1600" b="1">
                <a:solidFill>
                  <a:schemeClr val="tx2"/>
                </a:solidFill>
                <a:latin typeface="+mj-lt"/>
                <a:ea typeface="League Spartan" charset="0"/>
                <a:cs typeface="Poppins" pitchFamily="2" charset="77"/>
              </a:rPr>
              <a:t>Inventory</a:t>
            </a:r>
            <a:endParaRPr lang="en-GB" sz="1600" b="1" dirty="0">
              <a:solidFill>
                <a:schemeClr val="tx2"/>
              </a:solidFill>
              <a:latin typeface="+mj-lt"/>
              <a:ea typeface="League Spartan" charset="0"/>
              <a:cs typeface="Poppins" pitchFamily="2" charset="77"/>
            </a:endParaRPr>
          </a:p>
        </p:txBody>
      </p:sp>
      <p:sp>
        <p:nvSpPr>
          <p:cNvPr id="32" name="TextBox 46">
            <a:extLst>
              <a:ext uri="{FF2B5EF4-FFF2-40B4-BE49-F238E27FC236}">
                <a16:creationId xmlns:a16="http://schemas.microsoft.com/office/drawing/2014/main" id="{48DB6A5B-4FD1-44E6-8E89-DF050B6B456D}"/>
              </a:ext>
            </a:extLst>
          </p:cNvPr>
          <p:cNvSpPr txBox="1"/>
          <p:nvPr/>
        </p:nvSpPr>
        <p:spPr>
          <a:xfrm>
            <a:off x="8515624" y="3606879"/>
            <a:ext cx="1115049" cy="584775"/>
          </a:xfrm>
          <a:prstGeom prst="rect">
            <a:avLst/>
          </a:prstGeom>
          <a:noFill/>
        </p:spPr>
        <p:txBody>
          <a:bodyPr wrap="square" rtlCol="0" anchor="b" anchorCtr="0">
            <a:spAutoFit/>
          </a:bodyPr>
          <a:lstStyle/>
          <a:p>
            <a:pPr algn="ctr"/>
            <a:r>
              <a:rPr lang="en-GB" sz="1600" b="1">
                <a:solidFill>
                  <a:schemeClr val="tx2"/>
                </a:solidFill>
                <a:latin typeface="+mj-lt"/>
                <a:ea typeface="League Spartan" charset="0"/>
                <a:cs typeface="Poppins" pitchFamily="2" charset="77"/>
              </a:rPr>
              <a:t>Operating</a:t>
            </a:r>
          </a:p>
          <a:p>
            <a:pPr algn="ctr"/>
            <a:r>
              <a:rPr lang="en-GB" sz="1600" b="1">
                <a:solidFill>
                  <a:schemeClr val="tx2"/>
                </a:solidFill>
                <a:latin typeface="+mj-lt"/>
                <a:ea typeface="League Spartan" charset="0"/>
                <a:cs typeface="Poppins" pitchFamily="2" charset="77"/>
              </a:rPr>
              <a:t>Cycle</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191737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71</Words>
  <Application>Microsoft Office PowerPoint</Application>
  <PresentationFormat>Widescreen</PresentationFormat>
  <Paragraphs>231</Paragraphs>
  <Slides>16</Slides>
  <Notes>1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Calibri Light</vt:lpstr>
      <vt:lpstr>Cambria Math</vt:lpstr>
      <vt:lpstr>Lato Light</vt:lpstr>
      <vt:lpstr>Open Sans Light</vt:lpstr>
      <vt:lpstr>Poppins</vt:lpstr>
      <vt:lpstr>Wingdings</vt:lpstr>
      <vt:lpstr>Office Theme</vt:lpstr>
      <vt:lpstr>think-cell Folie</vt:lpstr>
      <vt:lpstr>Liquidity and working capital management meas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quidity and working capital management measures</dc:title>
  <dc:creator>canic</dc:creator>
  <cp:lastModifiedBy>canic</cp:lastModifiedBy>
  <cp:revision>1</cp:revision>
  <dcterms:created xsi:type="dcterms:W3CDTF">2021-06-10T14:43:16Z</dcterms:created>
  <dcterms:modified xsi:type="dcterms:W3CDTF">2021-06-10T14:43:27Z</dcterms:modified>
</cp:coreProperties>
</file>